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comments/modernComment_115_E0E24719.xml" ContentType="application/vnd.ms-powerpoint.comments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comments/modernComment_113_A11C9792.xml" ContentType="application/vnd.ms-powerpoint.comments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2"/>
  </p:notesMasterIdLst>
  <p:sldIdLst>
    <p:sldId id="256" r:id="rId2"/>
    <p:sldId id="257" r:id="rId3"/>
    <p:sldId id="258" r:id="rId4"/>
    <p:sldId id="270" r:id="rId5"/>
    <p:sldId id="273" r:id="rId6"/>
    <p:sldId id="274" r:id="rId7"/>
    <p:sldId id="277" r:id="rId8"/>
    <p:sldId id="275" r:id="rId9"/>
    <p:sldId id="265" r:id="rId10"/>
    <p:sldId id="267" r:id="rId11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205" userDrawn="1">
          <p15:clr>
            <a:srgbClr val="A4A3A4"/>
          </p15:clr>
        </p15:guide>
        <p15:guide id="2" pos="3863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7D5A5D6-68DB-392E-9DBF-BAF4F9C30F45}" name="Aschoff, JohannesMaximilian" initials="JA" userId="S::johannesmaximilian.aschoff@student.unisg.ch::b268d7e1-61fe-46e2-8b05-0d4b77a0f90f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00000"/>
    <a:srgbClr val="A3A3A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1311"/>
    <p:restoredTop sz="94559"/>
  </p:normalViewPr>
  <p:slideViewPr>
    <p:cSldViewPr snapToGrid="0">
      <p:cViewPr>
        <p:scale>
          <a:sx n="95" d="100"/>
          <a:sy n="95" d="100"/>
        </p:scale>
        <p:origin x="984" y="528"/>
      </p:cViewPr>
      <p:guideLst>
        <p:guide orient="horz" pos="2205"/>
        <p:guide pos="3863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microsoft.com/office/2018/10/relationships/authors" Target="authors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comments/modernComment_113_A11C9792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18E7C16E-86F9-8045-AD33-9F203FD7DBB1}" authorId="{77D5A5D6-68DB-392E-9DBF-BAF4F9C30F45}" created="2024-12-06T15:32:44.318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2703005586" sldId="275"/>
      <ac:spMk id="6" creationId="{4E8990CF-8EAA-9853-9154-3CFE29E81F97}"/>
    </ac:deMkLst>
    <p188:txBody>
      <a:bodyPr/>
      <a:lstStyle/>
      <a:p>
        <a:r>
          <a:rPr lang="de-DE"/>
          <a:t>Button up project to create a circle economy, the goal is giving an opprtunity, bridging the inequality gap, give equality in another part of the world</a:t>
        </a:r>
      </a:p>
    </p188:txBody>
  </p188:cm>
</p188:cmLst>
</file>

<file path=ppt/comments/modernComment_115_E0E24719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B2CE19A2-BD76-1A48-85AE-5871E08011E5}" authorId="{77D5A5D6-68DB-392E-9DBF-BAF4F9C30F45}" created="2024-12-06T15:28:39.725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3772925721" sldId="277"/>
      <ac:spMk id="4" creationId="{F0796246-8EC3-370A-BD9E-D310F917F816}"/>
    </ac:deMkLst>
    <p188:txBody>
      <a:bodyPr/>
      <a:lstStyle/>
      <a:p>
        <a:r>
          <a:rPr lang="de-DE"/>
          <a:t>What you will get</a:t>
        </a:r>
      </a:p>
    </p188:txBody>
  </p188:cm>
  <p188:cm id="{B42C7C2B-11B7-9947-AB10-A77C73F64C01}" authorId="{77D5A5D6-68DB-392E-9DBF-BAF4F9C30F45}" created="2024-12-06T15:29:35.649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3772925721" sldId="277"/>
      <ac:spMk id="13" creationId="{92F3AC18-BADD-BE34-1D80-2BDA31ED296F}"/>
    </ac:deMkLst>
    <p188:replyLst>
      <p188:reply id="{916E76DB-E319-C949-8876-84D55329B869}" authorId="{77D5A5D6-68DB-392E-9DBF-BAF4F9C30F45}" created="2024-12-06T15:29:47.982">
        <p188:txBody>
          <a:bodyPr/>
          <a:lstStyle/>
          <a:p>
            <a:r>
              <a:rPr lang="de-DE"/>
              <a:t>Guide the reader</a:t>
            </a:r>
          </a:p>
        </p188:txBody>
      </p188:reply>
    </p188:replyLst>
    <p188:txBody>
      <a:bodyPr/>
      <a:lstStyle/>
      <a:p>
        <a:r>
          <a:rPr lang="de-DE"/>
          <a:t>More specific, but less</a:t>
        </a:r>
      </a:p>
    </p188:txBody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B606DD-BDF9-4990-A99A-2CD5C359BF04}" type="datetimeFigureOut">
              <a:rPr lang="en-GB" smtClean="0"/>
              <a:t>10/12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828AD73-B267-4FED-9BE6-EADB8D7607B2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232268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28AD73-B267-4FED-9BE6-EADB8D7607B2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915991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28AD73-B267-4FED-9BE6-EADB8D7607B2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795832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CC1CA6-7D8B-88B3-F6F0-8EA1C54E69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DF67BB3D-BBD6-B1CE-D786-F36B23C948E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ADD606B8-65A0-A687-5638-93688318E1E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44035F6-B350-684B-4536-E9E096C58FB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28AD73-B267-4FED-9BE6-EADB8D7607B2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4997187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28AD73-B267-4FED-9BE6-EADB8D7607B2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371757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BE97FD0-3B89-364A-DE9C-B6862E0FA01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3BF9F70E-872D-23F3-0AB5-4B3D8AD4F28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44D40A0-6825-5E6B-677B-59A74B3E8B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F9143C-9D72-FB44-A55D-7403347E463C}" type="datetimeFigureOut">
              <a:rPr lang="de-DE" smtClean="0"/>
              <a:t>10.12.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57AE8F8-D7D1-2917-0425-EF876DA328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2FB775F-34D1-800C-1258-D6050A2C40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6A128D-2934-E44F-9142-CEFCEEFF924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5529026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FA052E9-95D0-D40F-B3FC-9E65955967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960A6955-5E9D-6062-C559-8449BA5758E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D6E53D7-FE33-279F-8925-8898314862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F9143C-9D72-FB44-A55D-7403347E463C}" type="datetimeFigureOut">
              <a:rPr lang="de-DE" smtClean="0"/>
              <a:t>10.12.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A29C09E-E574-409F-93EF-7330A455DF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137FD8C-209D-D677-CF2A-C2E595A4FD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6A128D-2934-E44F-9142-CEFCEEFF924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9165484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12009761-97E0-ACAF-B150-F23138D7D41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FA9B5FE5-656B-0935-A524-28D857027FF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B11B5A7-4CE5-2190-6C41-2235DD74A8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F9143C-9D72-FB44-A55D-7403347E463C}" type="datetimeFigureOut">
              <a:rPr lang="de-DE" smtClean="0"/>
              <a:t>10.12.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0E9BFB7-4F05-E410-17FE-8B7DA9CD08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8C8DA79-18BF-CBF5-959A-5B1F024C9C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6A128D-2934-E44F-9142-CEFCEEFF924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63748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0A50CF5-F47C-ADFA-DE56-DC600439A7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8CC15A0-6C57-28D2-8DB2-E153A5D74F9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17DDADF-CD89-5F09-BFCE-AE16CCFAF1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F9143C-9D72-FB44-A55D-7403347E463C}" type="datetimeFigureOut">
              <a:rPr lang="de-DE" smtClean="0"/>
              <a:t>10.12.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0A7189C-D751-F5F8-95F4-ED4DBFE7DA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49144E6-E39C-73C7-AD4D-27D9C41B68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6A128D-2934-E44F-9142-CEFCEEFF924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549140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51B60F6-7B3B-FAB1-98B7-100B6A6B40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CDDE531-4A06-3B4D-3543-44209647CF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F8A8D16-D374-9BA6-2FF9-1C7451D927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F9143C-9D72-FB44-A55D-7403347E463C}" type="datetimeFigureOut">
              <a:rPr lang="de-DE" smtClean="0"/>
              <a:t>10.12.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4EF0111-6390-564C-0C64-1A3C4862DD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D2C9C02-91FE-4D1B-2491-78070E3FC5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6A128D-2934-E44F-9142-CEFCEEFF924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388692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F4BCECB-050B-694A-EDEC-BF1E36457E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1B463F1-B578-4E51-EEEE-18ABFFDDC6C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E864A4CC-B816-35E3-A7F1-6E72524C887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E751B9D5-CC35-711E-0E3C-9C250A454A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F9143C-9D72-FB44-A55D-7403347E463C}" type="datetimeFigureOut">
              <a:rPr lang="de-DE" smtClean="0"/>
              <a:t>10.12.24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7225D61-6AD6-D68F-1475-B6C232FD29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9AF3BBA-2A5C-7834-8788-901B7AED2A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6A128D-2934-E44F-9142-CEFCEEFF924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57961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9A1B42E-BE1D-FD47-8CD3-D13831EA44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9E0FE0B-6349-8C5C-4858-6080B7E1705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20CCC85D-D8B0-7F39-5F09-FEF86DC30D4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441A6DB-5775-60D3-FEFF-A7AAA7143D3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58BF623-C306-92BD-0BF5-1B8D2637B9B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9E801B92-43A4-4F6F-4BE4-2EA3FC6CDD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F9143C-9D72-FB44-A55D-7403347E463C}" type="datetimeFigureOut">
              <a:rPr lang="de-DE" smtClean="0"/>
              <a:t>10.12.24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FC9C3ABB-8530-8C00-0384-FFE94B6953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3DDBD748-94E5-76D0-249F-F68410E74B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6A128D-2934-E44F-9142-CEFCEEFF924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433579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108D26B-2F19-806B-7911-FA8BC81602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9823808-B05C-01D3-68AD-0E55A136C9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F9143C-9D72-FB44-A55D-7403347E463C}" type="datetimeFigureOut">
              <a:rPr lang="de-DE" smtClean="0"/>
              <a:t>10.12.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5ED46F0-FC7C-079B-7D6B-5BBD9A85DC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654830B-8ABC-833C-1491-F571A295F8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6A128D-2934-E44F-9142-CEFCEEFF924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253413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E3EA25C-ADE1-7883-AF5B-7D80B70B81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F9143C-9D72-FB44-A55D-7403347E463C}" type="datetimeFigureOut">
              <a:rPr lang="de-DE" smtClean="0"/>
              <a:t>10.12.24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E89687D-DCCF-F69E-187F-FE3AE6341E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9B7640F-8B52-FDFA-2F96-752A34B9A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6A128D-2934-E44F-9142-CEFCEEFF924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948555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66A0D6E-EF2D-743C-BEDA-EAD0E2C786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EE26DA0-D6FA-B9E9-D084-7BFAD0405FB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5D567CF-B5F6-9742-00A4-DBA718BBB31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F45D514-3D71-2ACE-CCAB-36AA4A39F4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F9143C-9D72-FB44-A55D-7403347E463C}" type="datetimeFigureOut">
              <a:rPr lang="de-DE" smtClean="0"/>
              <a:t>10.12.24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4840547-736F-A651-8CEF-15D147F21E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8651CCE-E094-221A-A358-5D8E855E30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6A128D-2934-E44F-9142-CEFCEEFF924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893305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8800B1-6608-008D-F146-7BC6368E7D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22310C21-FA99-F1FD-84CD-615D96F2B7A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EC11E4E-40E5-3156-C939-54551DCAC62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7682F91D-86C1-8189-8BAD-CCC175F824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F9143C-9D72-FB44-A55D-7403347E463C}" type="datetimeFigureOut">
              <a:rPr lang="de-DE" smtClean="0"/>
              <a:t>10.12.24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8551D89-8865-FC62-D3FF-8CAE000BF8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CE3F68C-D9A2-F3D4-98EE-CE10443B52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6A128D-2934-E44F-9142-CEFCEEFF924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996848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654CC2EE-20CD-A653-9146-29E38A66A8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61634951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7772400" imgH="10058400" progId="TCLayout.ActiveDocument.1">
                  <p:embed/>
                </p:oleObj>
              </mc:Choice>
              <mc:Fallback>
                <p:oleObj name="think-cell Folie" r:id="rId14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54CC2EE-20CD-A653-9146-29E38A66A8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7D5283BC-3213-944E-7A16-D6AD6038D7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2F2599-A53B-D293-E06A-A8A39B2E010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62D0415-A56F-FA26-3174-915A181DAE2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2F9143C-9D72-FB44-A55D-7403347E463C}" type="datetimeFigureOut">
              <a:rPr lang="de-DE" smtClean="0"/>
              <a:t>10.12.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C00A171-243A-5AB6-E5EA-18ED984AEC1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EA32C04-A977-2A74-832D-C0A4CF5274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B06A128D-2934-E44F-9142-CEFCEEFF924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559986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13" Type="http://schemas.openxmlformats.org/officeDocument/2006/relationships/image" Target="../media/image11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5.svg"/><Relationship Id="rId12" Type="http://schemas.openxmlformats.org/officeDocument/2006/relationships/image" Target="../media/image10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6" Type="http://schemas.openxmlformats.org/officeDocument/2006/relationships/image" Target="../media/image4.png"/><Relationship Id="rId11" Type="http://schemas.openxmlformats.org/officeDocument/2006/relationships/image" Target="../media/image9.svg"/><Relationship Id="rId5" Type="http://schemas.openxmlformats.org/officeDocument/2006/relationships/image" Target="../media/image3.jpeg"/><Relationship Id="rId10" Type="http://schemas.openxmlformats.org/officeDocument/2006/relationships/image" Target="../media/image8.png"/><Relationship Id="rId4" Type="http://schemas.openxmlformats.org/officeDocument/2006/relationships/image" Target="../media/image2.emf"/><Relationship Id="rId9" Type="http://schemas.openxmlformats.org/officeDocument/2006/relationships/image" Target="../media/image7.svg"/><Relationship Id="rId14" Type="http://schemas.openxmlformats.org/officeDocument/2006/relationships/image" Target="../media/image1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2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13" Type="http://schemas.openxmlformats.org/officeDocument/2006/relationships/image" Target="../media/image21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15.png"/><Relationship Id="rId12" Type="http://schemas.openxmlformats.org/officeDocument/2006/relationships/image" Target="../media/image20.svg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24.svg"/><Relationship Id="rId1" Type="http://schemas.openxmlformats.org/officeDocument/2006/relationships/tags" Target="../tags/tag3.xml"/><Relationship Id="rId6" Type="http://schemas.openxmlformats.org/officeDocument/2006/relationships/image" Target="../media/image12.png"/><Relationship Id="rId11" Type="http://schemas.openxmlformats.org/officeDocument/2006/relationships/image" Target="../media/image19.png"/><Relationship Id="rId5" Type="http://schemas.openxmlformats.org/officeDocument/2006/relationships/image" Target="../media/image14.png"/><Relationship Id="rId15" Type="http://schemas.openxmlformats.org/officeDocument/2006/relationships/image" Target="../media/image23.png"/><Relationship Id="rId10" Type="http://schemas.openxmlformats.org/officeDocument/2006/relationships/image" Target="../media/image18.svg"/><Relationship Id="rId4" Type="http://schemas.openxmlformats.org/officeDocument/2006/relationships/image" Target="../media/image13.emf"/><Relationship Id="rId9" Type="http://schemas.openxmlformats.org/officeDocument/2006/relationships/image" Target="../media/image17.png"/><Relationship Id="rId14" Type="http://schemas.openxmlformats.org/officeDocument/2006/relationships/image" Target="../media/image22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oleObject" Target="../embeddings/oleObject4.bin"/><Relationship Id="rId7" Type="http://schemas.openxmlformats.org/officeDocument/2006/relationships/image" Target="../media/image28.sv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Relationship Id="rId6" Type="http://schemas.openxmlformats.org/officeDocument/2006/relationships/image" Target="../media/image27.png"/><Relationship Id="rId5" Type="http://schemas.openxmlformats.org/officeDocument/2006/relationships/image" Target="../media/image26.jpeg"/><Relationship Id="rId4" Type="http://schemas.openxmlformats.org/officeDocument/2006/relationships/image" Target="../media/image25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34.svg"/><Relationship Id="rId18" Type="http://schemas.openxmlformats.org/officeDocument/2006/relationships/image" Target="../media/image21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2.png"/><Relationship Id="rId12" Type="http://schemas.openxmlformats.org/officeDocument/2006/relationships/image" Target="../media/image33.png"/><Relationship Id="rId17" Type="http://schemas.openxmlformats.org/officeDocument/2006/relationships/image" Target="../media/image38.svg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37.png"/><Relationship Id="rId1" Type="http://schemas.openxmlformats.org/officeDocument/2006/relationships/tags" Target="../tags/tag5.xml"/><Relationship Id="rId6" Type="http://schemas.openxmlformats.org/officeDocument/2006/relationships/image" Target="../media/image30.png"/><Relationship Id="rId11" Type="http://schemas.openxmlformats.org/officeDocument/2006/relationships/image" Target="../media/image32.svg"/><Relationship Id="rId5" Type="http://schemas.openxmlformats.org/officeDocument/2006/relationships/image" Target="../media/image29.emf"/><Relationship Id="rId15" Type="http://schemas.openxmlformats.org/officeDocument/2006/relationships/image" Target="../media/image36.svg"/><Relationship Id="rId10" Type="http://schemas.openxmlformats.org/officeDocument/2006/relationships/image" Target="../media/image31.png"/><Relationship Id="rId19" Type="http://schemas.openxmlformats.org/officeDocument/2006/relationships/image" Target="../media/image22.svg"/><Relationship Id="rId4" Type="http://schemas.openxmlformats.org/officeDocument/2006/relationships/oleObject" Target="../embeddings/oleObject5.bin"/><Relationship Id="rId9" Type="http://schemas.openxmlformats.org/officeDocument/2006/relationships/image" Target="../media/image16.svg"/><Relationship Id="rId14" Type="http://schemas.openxmlformats.org/officeDocument/2006/relationships/image" Target="../media/image35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svg"/><Relationship Id="rId13" Type="http://schemas.openxmlformats.org/officeDocument/2006/relationships/image" Target="../media/image45.sv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41.png"/><Relationship Id="rId12" Type="http://schemas.openxmlformats.org/officeDocument/2006/relationships/image" Target="../media/image44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.xml"/><Relationship Id="rId6" Type="http://schemas.openxmlformats.org/officeDocument/2006/relationships/image" Target="../media/image40.jpeg"/><Relationship Id="rId11" Type="http://schemas.openxmlformats.org/officeDocument/2006/relationships/image" Target="../media/image43.png"/><Relationship Id="rId5" Type="http://schemas.openxmlformats.org/officeDocument/2006/relationships/image" Target="../media/image39.emf"/><Relationship Id="rId10" Type="http://schemas.openxmlformats.org/officeDocument/2006/relationships/image" Target="../media/image36.svg"/><Relationship Id="rId4" Type="http://schemas.openxmlformats.org/officeDocument/2006/relationships/oleObject" Target="../embeddings/oleObject6.bin"/><Relationship Id="rId9" Type="http://schemas.openxmlformats.org/officeDocument/2006/relationships/image" Target="../media/image35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oleObject" Target="../embeddings/oleObject7.bin"/><Relationship Id="rId7" Type="http://schemas.openxmlformats.org/officeDocument/2006/relationships/image" Target="../media/image48.sv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.xml"/><Relationship Id="rId6" Type="http://schemas.openxmlformats.org/officeDocument/2006/relationships/image" Target="../media/image47.png"/><Relationship Id="rId5" Type="http://schemas.openxmlformats.org/officeDocument/2006/relationships/image" Target="../media/image12.png"/><Relationship Id="rId4" Type="http://schemas.openxmlformats.org/officeDocument/2006/relationships/image" Target="../media/image46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svg"/><Relationship Id="rId3" Type="http://schemas.microsoft.com/office/2018/10/relationships/comments" Target="../comments/modernComment_115_E0E24719.xml"/><Relationship Id="rId7" Type="http://schemas.openxmlformats.org/officeDocument/2006/relationships/image" Target="../media/image52.png"/><Relationship Id="rId12" Type="http://schemas.openxmlformats.org/officeDocument/2006/relationships/image" Target="../media/image56.jpe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.xml"/><Relationship Id="rId6" Type="http://schemas.openxmlformats.org/officeDocument/2006/relationships/image" Target="../media/image51.jpg"/><Relationship Id="rId11" Type="http://schemas.openxmlformats.org/officeDocument/2006/relationships/image" Target="../media/image55.jpeg"/><Relationship Id="rId5" Type="http://schemas.openxmlformats.org/officeDocument/2006/relationships/image" Target="../media/image50.emf"/><Relationship Id="rId10" Type="http://schemas.openxmlformats.org/officeDocument/2006/relationships/image" Target="../media/image54.jpeg"/><Relationship Id="rId4" Type="http://schemas.openxmlformats.org/officeDocument/2006/relationships/oleObject" Target="../embeddings/oleObject8.bin"/><Relationship Id="rId9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58.jp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.xml"/><Relationship Id="rId6" Type="http://schemas.openxmlformats.org/officeDocument/2006/relationships/image" Target="../media/image57.emf"/><Relationship Id="rId11" Type="http://schemas.openxmlformats.org/officeDocument/2006/relationships/image" Target="../media/image45.svg"/><Relationship Id="rId5" Type="http://schemas.openxmlformats.org/officeDocument/2006/relationships/oleObject" Target="../embeddings/oleObject9.bin"/><Relationship Id="rId10" Type="http://schemas.openxmlformats.org/officeDocument/2006/relationships/image" Target="../media/image44.png"/><Relationship Id="rId4" Type="http://schemas.microsoft.com/office/2018/10/relationships/comments" Target="../comments/modernComment_113_A11C9792.xml"/><Relationship Id="rId9" Type="http://schemas.openxmlformats.org/officeDocument/2006/relationships/image" Target="../media/image60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svg"/><Relationship Id="rId3" Type="http://schemas.openxmlformats.org/officeDocument/2006/relationships/oleObject" Target="../embeddings/oleObject10.bin"/><Relationship Id="rId7" Type="http://schemas.openxmlformats.org/officeDocument/2006/relationships/image" Target="../media/image63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.xml"/><Relationship Id="rId6" Type="http://schemas.openxmlformats.org/officeDocument/2006/relationships/image" Target="../media/image12.png"/><Relationship Id="rId5" Type="http://schemas.openxmlformats.org/officeDocument/2006/relationships/image" Target="../media/image62.jpg"/><Relationship Id="rId4" Type="http://schemas.openxmlformats.org/officeDocument/2006/relationships/image" Target="../media/image6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7DB4C16F-04BF-1067-429E-FFFA3CE60D0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132053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DB4C16F-04BF-1067-429E-FFFA3CE60D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feld 22">
            <a:extLst>
              <a:ext uri="{FF2B5EF4-FFF2-40B4-BE49-F238E27FC236}">
                <a16:creationId xmlns:a16="http://schemas.microsoft.com/office/drawing/2014/main" id="{DD2906DA-9B0D-D358-D1E2-26E76624E83D}"/>
              </a:ext>
            </a:extLst>
          </p:cNvPr>
          <p:cNvSpPr txBox="1"/>
          <p:nvPr/>
        </p:nvSpPr>
        <p:spPr>
          <a:xfrm>
            <a:off x="6919924" y="1774666"/>
            <a:ext cx="5119381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AstraZeneca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is</a:t>
            </a: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an ideal Corporate Fundraising Partner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for</a:t>
            </a: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Smiling Gecko,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thanks</a:t>
            </a: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to</a:t>
            </a: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its</a:t>
            </a: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focus</a:t>
            </a: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on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financial</a:t>
            </a: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and non-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financial</a:t>
            </a: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</a:t>
            </a:r>
            <a:r>
              <a:rPr lang="de-CH" dirty="0" err="1">
                <a:solidFill>
                  <a:srgbClr val="C00000"/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donations</a:t>
            </a:r>
            <a:r>
              <a:rPr lang="de-CH" dirty="0">
                <a:solidFill>
                  <a:srgbClr val="C00000"/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</a:t>
            </a:r>
            <a:r>
              <a:rPr lang="de-CH" dirty="0" err="1">
                <a:solidFill>
                  <a:srgbClr val="C00000"/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through</a:t>
            </a:r>
            <a:r>
              <a:rPr lang="de-CH" dirty="0">
                <a:solidFill>
                  <a:srgbClr val="C00000"/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</a:t>
            </a:r>
            <a:r>
              <a:rPr lang="de-CH" dirty="0" err="1">
                <a:solidFill>
                  <a:srgbClr val="C00000"/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disaster</a:t>
            </a:r>
            <a:r>
              <a:rPr lang="de-CH" dirty="0">
                <a:solidFill>
                  <a:srgbClr val="C00000"/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</a:t>
            </a:r>
            <a:r>
              <a:rPr lang="de-CH" dirty="0" err="1">
                <a:solidFill>
                  <a:srgbClr val="C00000"/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relief</a:t>
            </a:r>
            <a:endParaRPr lang="de-CH" dirty="0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  <a:p>
            <a:pPr>
              <a:spcAft>
                <a:spcPts val="1200"/>
              </a:spcAft>
            </a:pPr>
            <a:endParaRPr lang="de-CH" dirty="0">
              <a:solidFill>
                <a:srgbClr val="C00000"/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  <a:p>
            <a:pPr>
              <a:spcAft>
                <a:spcPts val="1200"/>
              </a:spcAft>
            </a:pPr>
            <a:r>
              <a:rPr lang="de-CH" b="1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Benefits </a:t>
            </a:r>
            <a:r>
              <a:rPr lang="de-CH" b="1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for</a:t>
            </a:r>
            <a:r>
              <a:rPr lang="de-CH" b="1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Genus</a:t>
            </a:r>
          </a:p>
        </p:txBody>
      </p:sp>
      <p:pic>
        <p:nvPicPr>
          <p:cNvPr id="1026" name="Picture 2" descr="Schule und Kindergarten - Smiling Gecko">
            <a:extLst>
              <a:ext uri="{FF2B5EF4-FFF2-40B4-BE49-F238E27FC236}">
                <a16:creationId xmlns:a16="http://schemas.microsoft.com/office/drawing/2014/main" id="{4011C861-05CD-84E3-8B2D-853A1B0DE14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352" t="10314" r="9407" b="28918"/>
          <a:stretch/>
        </p:blipFill>
        <p:spPr bwMode="auto">
          <a:xfrm>
            <a:off x="1" y="0"/>
            <a:ext cx="6095999" cy="41674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hteck 3">
            <a:extLst>
              <a:ext uri="{FF2B5EF4-FFF2-40B4-BE49-F238E27FC236}">
                <a16:creationId xmlns:a16="http://schemas.microsoft.com/office/drawing/2014/main" id="{F6FC3E94-594B-6A0B-58A0-8B3BEA77377B}"/>
              </a:ext>
            </a:extLst>
          </p:cNvPr>
          <p:cNvSpPr/>
          <p:nvPr/>
        </p:nvSpPr>
        <p:spPr>
          <a:xfrm>
            <a:off x="1" y="4167483"/>
            <a:ext cx="6095999" cy="1379021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3600" b="1" dirty="0">
                <a:latin typeface="Avenir Heavy" panose="02000503020000020003" pitchFamily="2" charset="0"/>
              </a:rPr>
              <a:t>Smiling Gecko CSR </a:t>
            </a:r>
          </a:p>
          <a:p>
            <a:r>
              <a:rPr lang="de-DE" sz="3600" b="1" dirty="0">
                <a:latin typeface="Avenir Heavy" panose="02000503020000020003" pitchFamily="2" charset="0"/>
              </a:rPr>
              <a:t>Initiative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2524DE76-59C4-73B4-AB2E-FF9126FAA77F}"/>
              </a:ext>
            </a:extLst>
          </p:cNvPr>
          <p:cNvSpPr txBox="1"/>
          <p:nvPr/>
        </p:nvSpPr>
        <p:spPr>
          <a:xfrm>
            <a:off x="0" y="5694218"/>
            <a:ext cx="98616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800" dirty="0">
                <a:solidFill>
                  <a:srgbClr val="C00000"/>
                </a:solidFill>
                <a:latin typeface="Avenir Medium" panose="02000503020000020003" pitchFamily="2" charset="0"/>
              </a:rPr>
              <a:t>2024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605E79E3-EC05-D24E-56A7-50A332B10EEE}"/>
              </a:ext>
            </a:extLst>
          </p:cNvPr>
          <p:cNvSpPr txBox="1"/>
          <p:nvPr/>
        </p:nvSpPr>
        <p:spPr>
          <a:xfrm>
            <a:off x="6919924" y="1094328"/>
            <a:ext cx="368992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Driving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Change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Together</a:t>
            </a:r>
            <a:endParaRPr lang="de-DE" sz="2400" dirty="0">
              <a:solidFill>
                <a:srgbClr val="C00000"/>
              </a:solidFill>
              <a:latin typeface="Avenir Medium" panose="02000503020000020003" pitchFamily="2" charset="0"/>
            </a:endParaRP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F030B2EF-CDC5-DF1E-947B-0FB5FC0CDB81}"/>
              </a:ext>
            </a:extLst>
          </p:cNvPr>
          <p:cNvSpPr txBox="1"/>
          <p:nvPr/>
        </p:nvSpPr>
        <p:spPr>
          <a:xfrm>
            <a:off x="7353690" y="3884511"/>
            <a:ext cx="4791384" cy="166199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</a:pP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Alignment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with</a:t>
            </a: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key</a:t>
            </a: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CSRD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reporting</a:t>
            </a: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metrics</a:t>
            </a:r>
            <a:endParaRPr lang="de-CH" dirty="0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  <a:p>
            <a:pPr>
              <a:spcAft>
                <a:spcPts val="1200"/>
              </a:spcAft>
            </a:pP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Enhanced and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elevated</a:t>
            </a: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CSR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campaigns</a:t>
            </a:r>
            <a:endParaRPr lang="de-CH" dirty="0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  <a:p>
            <a:pPr>
              <a:spcAft>
                <a:spcPts val="1200"/>
              </a:spcAft>
            </a:pP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Tailored</a:t>
            </a: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service</a:t>
            </a: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offerings</a:t>
            </a:r>
            <a:endParaRPr lang="de-CH" dirty="0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  <a:p>
            <a:pPr>
              <a:spcAft>
                <a:spcPts val="1200"/>
              </a:spcAft>
            </a:pP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Creation</a:t>
            </a: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of</a:t>
            </a: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social and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sustainable</a:t>
            </a: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impact</a:t>
            </a:r>
            <a:endParaRPr lang="de-CH" dirty="0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90C55C9E-2653-FDE5-D354-436A71CF957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035239" y="3893232"/>
            <a:ext cx="318449" cy="318449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25A0B1B0-0B59-1257-F3CA-D9921A3DD65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035238" y="4343132"/>
            <a:ext cx="318449" cy="347399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0AFC2BCF-DD0A-3064-5386-3A781EA2B9C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035238" y="4821982"/>
            <a:ext cx="318449" cy="227463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5E664362-191C-10E7-C567-D43F999D920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035238" y="5180896"/>
            <a:ext cx="318449" cy="318449"/>
          </a:xfrm>
          <a:prstGeom prst="rect">
            <a:avLst/>
          </a:prstGeom>
        </p:spPr>
      </p:pic>
      <p:pic>
        <p:nvPicPr>
          <p:cNvPr id="26" name="Grafik 25" descr="Ein Bild, das Entwurf, Zeichnung, Kinderkunst, Grafiken enthält.&#10;&#10;Automatisch generierte Beschreibung">
            <a:extLst>
              <a:ext uri="{FF2B5EF4-FFF2-40B4-BE49-F238E27FC236}">
                <a16:creationId xmlns:a16="http://schemas.microsoft.com/office/drawing/2014/main" id="{8CD6EB54-419D-0569-D562-E3FD6F7409B6}"/>
              </a:ext>
            </a:extLst>
          </p:cNvPr>
          <p:cNvPicPr>
            <a:picLocks noChangeAspect="1"/>
          </p:cNvPicPr>
          <p:nvPr/>
        </p:nvPicPr>
        <p:blipFill>
          <a:blip r:embed="rId14"/>
          <a:srcRect b="23627"/>
          <a:stretch/>
        </p:blipFill>
        <p:spPr>
          <a:xfrm>
            <a:off x="11372092" y="6148136"/>
            <a:ext cx="668594" cy="5511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994532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">
            <a:extLst>
              <a:ext uri="{FF2B5EF4-FFF2-40B4-BE49-F238E27FC236}">
                <a16:creationId xmlns:a16="http://schemas.microsoft.com/office/drawing/2014/main" id="{3919CA87-A25D-058E-6D74-41F8CDBFD76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1142" y="0"/>
            <a:ext cx="5910858" cy="43641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hteck 2">
            <a:extLst>
              <a:ext uri="{FF2B5EF4-FFF2-40B4-BE49-F238E27FC236}">
                <a16:creationId xmlns:a16="http://schemas.microsoft.com/office/drawing/2014/main" id="{4EFD2CDB-5544-207B-A132-246FE3045A06}"/>
              </a:ext>
            </a:extLst>
          </p:cNvPr>
          <p:cNvSpPr/>
          <p:nvPr/>
        </p:nvSpPr>
        <p:spPr>
          <a:xfrm>
            <a:off x="0" y="296595"/>
            <a:ext cx="5555673" cy="719473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2800" b="1" err="1">
                <a:latin typeface="Avenir Heavy" panose="02000503020000020003" pitchFamily="2" charset="0"/>
              </a:rPr>
              <a:t>Your</a:t>
            </a:r>
            <a:r>
              <a:rPr lang="de-DE" sz="2800" b="1">
                <a:latin typeface="Avenir Heavy" panose="02000503020000020003" pitchFamily="2" charset="0"/>
              </a:rPr>
              <a:t> Contact at Smiling Gecko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679A6006-176A-0A57-DD78-0E6135CC973B}"/>
              </a:ext>
            </a:extLst>
          </p:cNvPr>
          <p:cNvSpPr txBox="1"/>
          <p:nvPr/>
        </p:nvSpPr>
        <p:spPr>
          <a:xfrm>
            <a:off x="6281142" y="4672345"/>
            <a:ext cx="3340979" cy="116762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>
                <a:solidFill>
                  <a:srgbClr val="C00000"/>
                </a:solidFill>
                <a:effectLst/>
                <a:latin typeface="Avenir Medium" panose="02000503020000020003" pitchFamily="2" charset="0"/>
              </a:rPr>
              <a:t>Alain </a:t>
            </a:r>
            <a:r>
              <a:rPr lang="de-DE" sz="2400" err="1">
                <a:solidFill>
                  <a:srgbClr val="C00000"/>
                </a:solidFill>
                <a:effectLst/>
                <a:latin typeface="Avenir Medium" panose="02000503020000020003" pitchFamily="2" charset="0"/>
              </a:rPr>
              <a:t>Biner</a:t>
            </a:r>
            <a:endParaRPr lang="de-DE" sz="2400">
              <a:solidFill>
                <a:srgbClr val="C00000"/>
              </a:solidFill>
              <a:effectLst/>
              <a:latin typeface="Avenir Medium" panose="02000503020000020003" pitchFamily="2" charset="0"/>
            </a:endParaRPr>
          </a:p>
          <a:p>
            <a:endParaRPr lang="de-DE" sz="500">
              <a:solidFill>
                <a:srgbClr val="C00000"/>
              </a:solidFill>
              <a:effectLst/>
              <a:latin typeface="Avenir Book" panose="02000503020000020003" pitchFamily="2" charset="0"/>
            </a:endParaRPr>
          </a:p>
          <a:p>
            <a:pPr>
              <a:lnSpc>
                <a:spcPts val="2500"/>
              </a:lnSpc>
            </a:pPr>
            <a:r>
              <a:rPr lang="de-DE">
                <a:solidFill>
                  <a:schemeClr val="bg1">
                    <a:lumMod val="50000"/>
                  </a:schemeClr>
                </a:solidFill>
                <a:effectLst/>
                <a:latin typeface="Avenir Book" panose="02000503020000020003" pitchFamily="2" charset="0"/>
              </a:rPr>
              <a:t>Telefon: +41 44 321 67 70</a:t>
            </a:r>
          </a:p>
          <a:p>
            <a:pPr>
              <a:lnSpc>
                <a:spcPts val="2500"/>
              </a:lnSpc>
            </a:pPr>
            <a:r>
              <a:rPr lang="de-DE">
                <a:solidFill>
                  <a:schemeClr val="bg1">
                    <a:lumMod val="50000"/>
                  </a:schemeClr>
                </a:solidFill>
                <a:effectLst/>
                <a:latin typeface="Avenir Book" panose="02000503020000020003" pitchFamily="2" charset="0"/>
              </a:rPr>
              <a:t>E-Mail: </a:t>
            </a:r>
            <a:r>
              <a:rPr lang="de-DE" err="1">
                <a:solidFill>
                  <a:schemeClr val="bg1">
                    <a:lumMod val="50000"/>
                  </a:schemeClr>
                </a:solidFill>
                <a:effectLst/>
                <a:latin typeface="Avenir Book" panose="02000503020000020003" pitchFamily="2" charset="0"/>
              </a:rPr>
              <a:t>biner@smilinggecko.ch</a:t>
            </a:r>
            <a:endParaRPr lang="de-DE">
              <a:solidFill>
                <a:schemeClr val="bg1">
                  <a:lumMod val="50000"/>
                </a:schemeClr>
              </a:solidFill>
              <a:effectLst/>
              <a:latin typeface="Avenir Book" panose="02000503020000020003" pitchFamily="2" charset="0"/>
            </a:endParaRPr>
          </a:p>
        </p:txBody>
      </p:sp>
      <p:pic>
        <p:nvPicPr>
          <p:cNvPr id="5" name="Grafik 4" descr="Ein Bild, das Entwurf, Zeichnung, Kinderkunst, Grafiken enthält.&#10;&#10;Automatisch generierte Beschreibung">
            <a:extLst>
              <a:ext uri="{FF2B5EF4-FFF2-40B4-BE49-F238E27FC236}">
                <a16:creationId xmlns:a16="http://schemas.microsoft.com/office/drawing/2014/main" id="{314339EE-0EF9-495F-EC96-213EA3A509E4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b="23627"/>
          <a:stretch/>
        </p:blipFill>
        <p:spPr>
          <a:xfrm>
            <a:off x="11372092" y="6148136"/>
            <a:ext cx="668594" cy="5511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691719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F7F32D9D-48D6-B58B-C875-C861028831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845247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7F32D9D-48D6-B58B-C875-C861028831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Grafik 1" descr="Ein Bild, das Kleidung, Person, Menschliches Gesicht, Sonnenhut enthält.&#10;&#10;Automatisch generierte Beschreibung">
            <a:extLst>
              <a:ext uri="{FF2B5EF4-FFF2-40B4-BE49-F238E27FC236}">
                <a16:creationId xmlns:a16="http://schemas.microsoft.com/office/drawing/2014/main" id="{56E2F40C-DE19-F571-A327-344B3B506C0D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-23515"/>
          <a:stretch/>
        </p:blipFill>
        <p:spPr>
          <a:xfrm>
            <a:off x="-1463040" y="0"/>
            <a:ext cx="7559039" cy="6858000"/>
          </a:xfrm>
          <a:prstGeom prst="rect">
            <a:avLst/>
          </a:prstGeom>
        </p:spPr>
      </p:pic>
      <p:pic>
        <p:nvPicPr>
          <p:cNvPr id="3" name="Grafik 2" descr="Ein Bild, das Entwurf, Zeichnung, Kinderkunst, Grafiken enthält.&#10;&#10;Automatisch generierte Beschreibung">
            <a:extLst>
              <a:ext uri="{FF2B5EF4-FFF2-40B4-BE49-F238E27FC236}">
                <a16:creationId xmlns:a16="http://schemas.microsoft.com/office/drawing/2014/main" id="{710F3353-AF8D-96DC-B10E-0A6A72C35B78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b="23627"/>
          <a:stretch/>
        </p:blipFill>
        <p:spPr>
          <a:xfrm>
            <a:off x="11372092" y="6148136"/>
            <a:ext cx="668594" cy="551113"/>
          </a:xfrm>
          <a:prstGeom prst="rect">
            <a:avLst/>
          </a:prstGeom>
        </p:spPr>
      </p:pic>
      <p:sp>
        <p:nvSpPr>
          <p:cNvPr id="4" name="Oval 3">
            <a:extLst>
              <a:ext uri="{FF2B5EF4-FFF2-40B4-BE49-F238E27FC236}">
                <a16:creationId xmlns:a16="http://schemas.microsoft.com/office/drawing/2014/main" id="{4E184AC4-7838-D43D-7098-9A3B3768C475}"/>
              </a:ext>
            </a:extLst>
          </p:cNvPr>
          <p:cNvSpPr/>
          <p:nvPr/>
        </p:nvSpPr>
        <p:spPr>
          <a:xfrm>
            <a:off x="5142000" y="2475000"/>
            <a:ext cx="1908000" cy="1908000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6D92D788-DA2E-E894-EF04-5E94BF69C3D4}"/>
              </a:ext>
            </a:extLst>
          </p:cNvPr>
          <p:cNvSpPr/>
          <p:nvPr/>
        </p:nvSpPr>
        <p:spPr>
          <a:xfrm>
            <a:off x="338667" y="0"/>
            <a:ext cx="711200" cy="1151467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6" name="Grafik 5" descr="Auge mit einfarbiger Füllung">
            <a:extLst>
              <a:ext uri="{FF2B5EF4-FFF2-40B4-BE49-F238E27FC236}">
                <a16:creationId xmlns:a16="http://schemas.microsoft.com/office/drawing/2014/main" id="{C3DCB726-7049-0194-DE01-AC90FBA7DEC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38667" y="440267"/>
            <a:ext cx="711200" cy="711200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21A6546A-38D9-80DB-437C-766942F0952A}"/>
              </a:ext>
            </a:extLst>
          </p:cNvPr>
          <p:cNvSpPr txBox="1"/>
          <p:nvPr/>
        </p:nvSpPr>
        <p:spPr>
          <a:xfrm>
            <a:off x="5255064" y="3013502"/>
            <a:ext cx="1681872" cy="83099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de-DE" sz="2400" b="1" dirty="0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Purpose &amp;</a:t>
            </a:r>
          </a:p>
          <a:p>
            <a:pPr algn="ctr"/>
            <a:r>
              <a:rPr lang="de-DE" sz="2400" b="1" dirty="0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Vision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D46974F2-0C45-17F2-B91E-994C9ED1DE29}"/>
              </a:ext>
            </a:extLst>
          </p:cNvPr>
          <p:cNvSpPr txBox="1"/>
          <p:nvPr/>
        </p:nvSpPr>
        <p:spPr>
          <a:xfrm>
            <a:off x="8045908" y="1789755"/>
            <a:ext cx="3864573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US" sz="18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Developing sustainable social enterprises </a:t>
            </a:r>
          </a:p>
          <a:p>
            <a:pPr>
              <a:spcAft>
                <a:spcPts val="1200"/>
              </a:spcAft>
            </a:pPr>
            <a:r>
              <a:rPr lang="en-US" sz="18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Delivering education and vocational training</a:t>
            </a:r>
          </a:p>
          <a:p>
            <a:pPr>
              <a:spcAft>
                <a:spcPts val="1200"/>
              </a:spcAft>
            </a:pPr>
            <a:r>
              <a:rPr lang="en-US" sz="18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Strengthening food security - organic farming, fish production, school meals</a:t>
            </a:r>
          </a:p>
          <a:p>
            <a:pPr>
              <a:spcAft>
                <a:spcPts val="1200"/>
              </a:spcAft>
            </a:pPr>
            <a:r>
              <a:rPr lang="en-US" sz="18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Fostering resilience and nationwide impact - cultural initiatives like "The Gong”</a:t>
            </a:r>
            <a:endParaRPr lang="de-DE" dirty="0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FFA9A5C3-E5C3-EA88-D686-CA4B0B2DC15A}"/>
              </a:ext>
            </a:extLst>
          </p:cNvPr>
          <p:cNvSpPr txBox="1"/>
          <p:nvPr/>
        </p:nvSpPr>
        <p:spPr>
          <a:xfrm>
            <a:off x="7409954" y="913261"/>
            <a:ext cx="429643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Enhance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quality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of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life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in rural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Cambodia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0EC88266-E90F-2CDB-FAE7-85385496D18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595799" y="3326692"/>
            <a:ext cx="318449" cy="375062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346FB9F0-27A6-8763-8A7F-4EEA7EFA060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595799" y="4254136"/>
            <a:ext cx="313512" cy="244932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761BA396-FF6B-3D8E-C1DC-EFFFB2C25D54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7595799" y="2535910"/>
            <a:ext cx="313512" cy="238400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1326E60E-7C59-5EC2-D613-9AC16641F221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7595799" y="1905267"/>
            <a:ext cx="318449" cy="3042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65451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29B884-BD86-6BD5-C985-CBE8CD1956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EF71208-6A19-FA47-0265-98307C39EB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20405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EF71208-6A19-FA47-0265-98307C39EB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50" name="Picture 2" descr="Smiling Gecko Campus - Smiling Gecko">
            <a:extLst>
              <a:ext uri="{FF2B5EF4-FFF2-40B4-BE49-F238E27FC236}">
                <a16:creationId xmlns:a16="http://schemas.microsoft.com/office/drawing/2014/main" id="{2820FBE0-E47E-5DE1-594B-F2390963ED8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316" r="18762"/>
          <a:stretch/>
        </p:blipFill>
        <p:spPr bwMode="auto">
          <a:xfrm>
            <a:off x="0" y="0"/>
            <a:ext cx="609599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Oval 3">
            <a:extLst>
              <a:ext uri="{FF2B5EF4-FFF2-40B4-BE49-F238E27FC236}">
                <a16:creationId xmlns:a16="http://schemas.microsoft.com/office/drawing/2014/main" id="{966A2D15-94D2-36B9-3F72-666981CDD073}"/>
              </a:ext>
            </a:extLst>
          </p:cNvPr>
          <p:cNvSpPr/>
          <p:nvPr/>
        </p:nvSpPr>
        <p:spPr>
          <a:xfrm>
            <a:off x="5142000" y="2475000"/>
            <a:ext cx="1908000" cy="1908000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3CD0427A-EC4A-DF43-C066-4B73E8BFC077}"/>
              </a:ext>
            </a:extLst>
          </p:cNvPr>
          <p:cNvSpPr/>
          <p:nvPr/>
        </p:nvSpPr>
        <p:spPr>
          <a:xfrm>
            <a:off x="338667" y="0"/>
            <a:ext cx="711200" cy="1151467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16EB7F11-DE34-61CE-4C02-4E2D9EC3A7CF}"/>
              </a:ext>
            </a:extLst>
          </p:cNvPr>
          <p:cNvSpPr txBox="1"/>
          <p:nvPr/>
        </p:nvSpPr>
        <p:spPr>
          <a:xfrm>
            <a:off x="5399687" y="3013502"/>
            <a:ext cx="1392625" cy="83099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de-DE" sz="2400" b="1" dirty="0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The</a:t>
            </a:r>
          </a:p>
          <a:p>
            <a:pPr algn="ctr"/>
            <a:r>
              <a:rPr lang="de-DE" sz="2400" b="1" dirty="0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Problem</a:t>
            </a:r>
          </a:p>
        </p:txBody>
      </p:sp>
      <p:pic>
        <p:nvPicPr>
          <p:cNvPr id="10" name="Grafik 9" descr="Eisberg mit einfarbiger Füllung">
            <a:extLst>
              <a:ext uri="{FF2B5EF4-FFF2-40B4-BE49-F238E27FC236}">
                <a16:creationId xmlns:a16="http://schemas.microsoft.com/office/drawing/2014/main" id="{9508197B-7C60-A7B7-8762-58B5C0A71E8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38667" y="440267"/>
            <a:ext cx="711200" cy="711200"/>
          </a:xfrm>
          <a:prstGeom prst="rect">
            <a:avLst/>
          </a:prstGeom>
        </p:spPr>
      </p:pic>
      <p:pic>
        <p:nvPicPr>
          <p:cNvPr id="13" name="Grafik 12" descr="Ein Bild, das Entwurf, Zeichnung, Kinderkunst, Grafiken enthält.&#10;&#10;Automatisch generierte Beschreibung">
            <a:extLst>
              <a:ext uri="{FF2B5EF4-FFF2-40B4-BE49-F238E27FC236}">
                <a16:creationId xmlns:a16="http://schemas.microsoft.com/office/drawing/2014/main" id="{8FB863AC-4A1B-D7DB-66F9-BAE5EB534300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b="23627"/>
          <a:stretch/>
        </p:blipFill>
        <p:spPr>
          <a:xfrm>
            <a:off x="11372092" y="6148136"/>
            <a:ext cx="668594" cy="551113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FE6E860F-194E-60DB-23B5-CF3D60CB31C4}"/>
              </a:ext>
            </a:extLst>
          </p:cNvPr>
          <p:cNvSpPr txBox="1"/>
          <p:nvPr/>
        </p:nvSpPr>
        <p:spPr>
          <a:xfrm>
            <a:off x="7307153" y="1219527"/>
            <a:ext cx="4399236" cy="7213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>
              <a:lnSpc>
                <a:spcPts val="2500"/>
              </a:lnSpc>
              <a:buNone/>
            </a:pPr>
            <a:r>
              <a:rPr lang="en-GB" sz="18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High poverty rates, with over one-third of Cambodians living on less than </a:t>
            </a:r>
            <a:r>
              <a:rPr lang="en-GB" sz="1800" dirty="0">
                <a:solidFill>
                  <a:srgbClr val="C00000"/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$2/day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D82673E2-D619-72C0-A6F3-E9302D32E3C2}"/>
              </a:ext>
            </a:extLst>
          </p:cNvPr>
          <p:cNvSpPr txBox="1"/>
          <p:nvPr/>
        </p:nvSpPr>
        <p:spPr>
          <a:xfrm>
            <a:off x="7307153" y="757862"/>
            <a:ext cx="154401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Economic</a:t>
            </a:r>
            <a:endParaRPr lang="de-DE" sz="2400" dirty="0">
              <a:solidFill>
                <a:srgbClr val="C00000"/>
              </a:solidFill>
              <a:latin typeface="Avenir Medium" panose="02000503020000020003" pitchFamily="2" charset="0"/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85A37E36-C4E0-5BCC-C4F2-A854A9AB40F3}"/>
              </a:ext>
            </a:extLst>
          </p:cNvPr>
          <p:cNvSpPr txBox="1"/>
          <p:nvPr/>
        </p:nvSpPr>
        <p:spPr>
          <a:xfrm>
            <a:off x="7307153" y="2789303"/>
            <a:ext cx="4399236" cy="16831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>
              <a:lnSpc>
                <a:spcPts val="2500"/>
              </a:lnSpc>
              <a:buNone/>
            </a:pPr>
            <a:r>
              <a:rPr lang="en-GB" sz="1800" dirty="0">
                <a:solidFill>
                  <a:srgbClr val="C00000"/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29% of 15-24-year-olds</a:t>
            </a:r>
            <a:r>
              <a:rPr lang="en-GB" sz="18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have not completed primary education in Cambodia</a:t>
            </a:r>
          </a:p>
          <a:p>
            <a:pPr marL="0" indent="0">
              <a:lnSpc>
                <a:spcPts val="2500"/>
              </a:lnSpc>
              <a:buNone/>
            </a:pPr>
            <a:r>
              <a:rPr lang="en-GB" sz="1800" dirty="0">
                <a:solidFill>
                  <a:srgbClr val="C00000"/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500’000 children </a:t>
            </a:r>
            <a:r>
              <a:rPr lang="en-GB" sz="18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in Cambodia grow up without their parents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020C2FD7-ADCD-53B4-DFF4-7B59B2B1856A}"/>
              </a:ext>
            </a:extLst>
          </p:cNvPr>
          <p:cNvSpPr txBox="1"/>
          <p:nvPr/>
        </p:nvSpPr>
        <p:spPr>
          <a:xfrm>
            <a:off x="7307153" y="2327638"/>
            <a:ext cx="99578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Social</a:t>
            </a:r>
            <a:endParaRPr lang="de-DE" sz="2400" dirty="0">
              <a:solidFill>
                <a:srgbClr val="C00000"/>
              </a:solidFill>
              <a:latin typeface="Avenir Medium" panose="02000503020000020003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7AA028E4-9A83-1EB4-C6E3-AA4E5376970A}"/>
              </a:ext>
            </a:extLst>
          </p:cNvPr>
          <p:cNvSpPr txBox="1"/>
          <p:nvPr/>
        </p:nvSpPr>
        <p:spPr>
          <a:xfrm>
            <a:off x="7307153" y="5259937"/>
            <a:ext cx="4399236" cy="7213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>
              <a:lnSpc>
                <a:spcPts val="2500"/>
              </a:lnSpc>
              <a:buNone/>
            </a:pPr>
            <a:r>
              <a:rPr lang="en-GB" sz="18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Unsustainable agricultural practices and </a:t>
            </a:r>
            <a:r>
              <a:rPr lang="en-GB" sz="1800" dirty="0">
                <a:solidFill>
                  <a:srgbClr val="C00000"/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biodiversity loss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B485C3C7-35A5-92C6-8ACB-F6ADCCAA9F32}"/>
              </a:ext>
            </a:extLst>
          </p:cNvPr>
          <p:cNvSpPr txBox="1"/>
          <p:nvPr/>
        </p:nvSpPr>
        <p:spPr>
          <a:xfrm>
            <a:off x="7307153" y="4803213"/>
            <a:ext cx="218771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Environmental</a:t>
            </a:r>
          </a:p>
        </p:txBody>
      </p:sp>
    </p:spTree>
    <p:extLst>
      <p:ext uri="{BB962C8B-B14F-4D97-AF65-F5344CB8AC3E}">
        <p14:creationId xmlns:p14="http://schemas.microsoft.com/office/powerpoint/2010/main" val="223220019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BBB47D-A6E1-BCA7-6BF0-4691AFC613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61009F7A-9766-296A-CFC5-304AF59519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07103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1009F7A-9766-296A-CFC5-304AF59519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rafik 8" descr="Ein Bild, das Luftfotografie, Vogelperspektive, Luftbild, Städtebau enthält.&#10;&#10;Automatisch generierte Beschreibung">
            <a:extLst>
              <a:ext uri="{FF2B5EF4-FFF2-40B4-BE49-F238E27FC236}">
                <a16:creationId xmlns:a16="http://schemas.microsoft.com/office/drawing/2014/main" id="{7AF1F9D1-2CBF-60BE-1C2B-9CA720038DB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" name="Grafik 2" descr="Ein Bild, das Entwurf, Zeichnung, Kinderkunst, Grafiken enthält.&#10;&#10;Automatisch generierte Beschreibung">
            <a:extLst>
              <a:ext uri="{FF2B5EF4-FFF2-40B4-BE49-F238E27FC236}">
                <a16:creationId xmlns:a16="http://schemas.microsoft.com/office/drawing/2014/main" id="{213CF23D-0707-B554-4200-82E27BCCCB9C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b="23627"/>
          <a:stretch/>
        </p:blipFill>
        <p:spPr>
          <a:xfrm>
            <a:off x="11372092" y="6148136"/>
            <a:ext cx="668594" cy="551113"/>
          </a:xfrm>
          <a:prstGeom prst="rect">
            <a:avLst/>
          </a:prstGeom>
        </p:spPr>
      </p:pic>
      <p:sp>
        <p:nvSpPr>
          <p:cNvPr id="4" name="Oval 3">
            <a:extLst>
              <a:ext uri="{FF2B5EF4-FFF2-40B4-BE49-F238E27FC236}">
                <a16:creationId xmlns:a16="http://schemas.microsoft.com/office/drawing/2014/main" id="{3F0D3D54-9C7D-C114-1E89-55F8CC8943F5}"/>
              </a:ext>
            </a:extLst>
          </p:cNvPr>
          <p:cNvSpPr/>
          <p:nvPr/>
        </p:nvSpPr>
        <p:spPr>
          <a:xfrm>
            <a:off x="5142000" y="2475000"/>
            <a:ext cx="1908000" cy="1908000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707F8D5B-96FD-2FB9-9C8D-20FA034D54B4}"/>
              </a:ext>
            </a:extLst>
          </p:cNvPr>
          <p:cNvSpPr/>
          <p:nvPr/>
        </p:nvSpPr>
        <p:spPr>
          <a:xfrm>
            <a:off x="338667" y="0"/>
            <a:ext cx="711200" cy="1151467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6" name="Grafik 5" descr="Auge mit einfarbiger Füllung">
            <a:extLst>
              <a:ext uri="{FF2B5EF4-FFF2-40B4-BE49-F238E27FC236}">
                <a16:creationId xmlns:a16="http://schemas.microsoft.com/office/drawing/2014/main" id="{407D7BC6-C381-F0BA-8B86-3CE3BFC8153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38667" y="440267"/>
            <a:ext cx="711200" cy="711200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BFE91C66-BCD5-5A81-5C2C-B890EA417FC7}"/>
              </a:ext>
            </a:extLst>
          </p:cNvPr>
          <p:cNvSpPr txBox="1"/>
          <p:nvPr/>
        </p:nvSpPr>
        <p:spPr>
          <a:xfrm>
            <a:off x="5430433" y="2828835"/>
            <a:ext cx="1331134" cy="120032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de-DE" sz="2400" b="1" dirty="0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Smiling </a:t>
            </a:r>
          </a:p>
          <a:p>
            <a:pPr algn="ctr"/>
            <a:r>
              <a:rPr lang="de-DE" sz="2400" b="1" dirty="0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Gecko</a:t>
            </a:r>
          </a:p>
          <a:p>
            <a:pPr algn="ctr"/>
            <a:r>
              <a:rPr lang="de-DE" sz="2400" b="1" dirty="0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Campus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70DFD3AF-B3F9-D4F7-DB90-C20D8852ED88}"/>
              </a:ext>
            </a:extLst>
          </p:cNvPr>
          <p:cNvSpPr/>
          <p:nvPr/>
        </p:nvSpPr>
        <p:spPr>
          <a:xfrm>
            <a:off x="516433" y="4028376"/>
            <a:ext cx="1908000" cy="1908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964AF4B7-FB25-0CC1-6FC4-BD32FBA78249}"/>
              </a:ext>
            </a:extLst>
          </p:cNvPr>
          <p:cNvSpPr/>
          <p:nvPr/>
        </p:nvSpPr>
        <p:spPr>
          <a:xfrm>
            <a:off x="7521951" y="4569825"/>
            <a:ext cx="1908000" cy="1908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78A263B0-371E-60F7-A68D-BBF751410247}"/>
              </a:ext>
            </a:extLst>
          </p:cNvPr>
          <p:cNvSpPr/>
          <p:nvPr/>
        </p:nvSpPr>
        <p:spPr>
          <a:xfrm>
            <a:off x="9725250" y="4028376"/>
            <a:ext cx="1908000" cy="1908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9C0F3225-01F6-AA04-F330-4B94FC2CD0E7}"/>
              </a:ext>
            </a:extLst>
          </p:cNvPr>
          <p:cNvSpPr/>
          <p:nvPr/>
        </p:nvSpPr>
        <p:spPr>
          <a:xfrm>
            <a:off x="2765218" y="4569825"/>
            <a:ext cx="1908000" cy="1908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F0BE62CA-9BFB-6FD9-9287-75D1C5AFA7A4}"/>
              </a:ext>
            </a:extLst>
          </p:cNvPr>
          <p:cNvSpPr/>
          <p:nvPr/>
        </p:nvSpPr>
        <p:spPr>
          <a:xfrm>
            <a:off x="5140961" y="4797892"/>
            <a:ext cx="1908000" cy="1908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A66B4AEC-033D-73D9-BE41-27C36D5FE74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139888" y="4245375"/>
            <a:ext cx="661089" cy="664781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19E93F77-CF7D-CB96-A977-C4E0461D9E0D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776591" y="5028350"/>
            <a:ext cx="661089" cy="594141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6E217EC8-9F5E-D8BC-CDBF-711B970E8F45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8145407" y="4874507"/>
            <a:ext cx="661087" cy="465208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6000D052-FFC3-776C-F08E-86C963E0498D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0348706" y="4251539"/>
            <a:ext cx="661087" cy="661087"/>
          </a:xfrm>
          <a:prstGeom prst="rect">
            <a:avLst/>
          </a:prstGeom>
        </p:spPr>
      </p:pic>
      <p:sp>
        <p:nvSpPr>
          <p:cNvPr id="22" name="Textfeld 21">
            <a:extLst>
              <a:ext uri="{FF2B5EF4-FFF2-40B4-BE49-F238E27FC236}">
                <a16:creationId xmlns:a16="http://schemas.microsoft.com/office/drawing/2014/main" id="{A270449D-1B58-3B27-679B-1971B1A874F8}"/>
              </a:ext>
            </a:extLst>
          </p:cNvPr>
          <p:cNvSpPr txBox="1"/>
          <p:nvPr/>
        </p:nvSpPr>
        <p:spPr>
          <a:xfrm>
            <a:off x="503946" y="4961601"/>
            <a:ext cx="193297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1600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Craftsmanship</a:t>
            </a:r>
            <a:r>
              <a:rPr lang="de-CH" sz="16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&amp; </a:t>
            </a:r>
            <a:r>
              <a:rPr lang="de-CH" sz="1600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Production</a:t>
            </a:r>
            <a:endParaRPr lang="de-CH" sz="1600" dirty="0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  <a:p>
            <a:endParaRPr lang="de-DE" sz="1600" dirty="0">
              <a:latin typeface="Avenir Book" panose="02000503020000020003" pitchFamily="2" charset="0"/>
            </a:endParaRP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5583E17C-BAE5-E4A9-F870-1E98FFF31C0E}"/>
              </a:ext>
            </a:extLst>
          </p:cNvPr>
          <p:cNvSpPr txBox="1"/>
          <p:nvPr/>
        </p:nvSpPr>
        <p:spPr>
          <a:xfrm>
            <a:off x="2750109" y="5507564"/>
            <a:ext cx="193297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16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Educational Development</a:t>
            </a:r>
          </a:p>
          <a:p>
            <a:pPr algn="ctr"/>
            <a:endParaRPr lang="de-CH" sz="1600" dirty="0" err="1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3EE8E895-F0E4-0E05-2194-C4004E8E44CA}"/>
              </a:ext>
            </a:extLst>
          </p:cNvPr>
          <p:cNvSpPr txBox="1"/>
          <p:nvPr/>
        </p:nvSpPr>
        <p:spPr>
          <a:xfrm>
            <a:off x="5131098" y="5603197"/>
            <a:ext cx="1932972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16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Community Development &amp; </a:t>
            </a:r>
            <a:r>
              <a:rPr lang="de-CH" sz="1600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Employment</a:t>
            </a:r>
            <a:endParaRPr lang="de-CH" sz="1600" dirty="0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  <a:p>
            <a:pPr algn="ctr"/>
            <a:endParaRPr lang="de-CH" sz="1600" dirty="0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E1BE6D4C-13E8-8B29-21FA-A2798ED8C3E5}"/>
              </a:ext>
            </a:extLst>
          </p:cNvPr>
          <p:cNvSpPr txBox="1"/>
          <p:nvPr/>
        </p:nvSpPr>
        <p:spPr>
          <a:xfrm>
            <a:off x="7508919" y="5423266"/>
            <a:ext cx="193297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16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Emergency Relief &amp; Basic Needs</a:t>
            </a:r>
          </a:p>
          <a:p>
            <a:pPr algn="ctr"/>
            <a:endParaRPr lang="de-CH" sz="1600" dirty="0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AEE01ADF-CA74-B374-DF0A-547678E0C56A}"/>
              </a:ext>
            </a:extLst>
          </p:cNvPr>
          <p:cNvSpPr txBox="1"/>
          <p:nvPr/>
        </p:nvSpPr>
        <p:spPr>
          <a:xfrm>
            <a:off x="9712763" y="4900582"/>
            <a:ext cx="1932972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16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Food Security &amp; </a:t>
            </a:r>
            <a:r>
              <a:rPr lang="de-CH" sz="1600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Sustainable</a:t>
            </a:r>
            <a:r>
              <a:rPr lang="de-CH" sz="16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</a:t>
            </a:r>
            <a:r>
              <a:rPr lang="de-CH" sz="1600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Agriculture</a:t>
            </a:r>
            <a:endParaRPr lang="de-CH" sz="1600" dirty="0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  <a:p>
            <a:pPr algn="ctr"/>
            <a:endParaRPr lang="de-CH" sz="1600" dirty="0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8660BB96-4AAD-2961-57CD-3776F7201897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3386050" y="4911727"/>
            <a:ext cx="661089" cy="5027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42765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454494-EA90-4E54-4C63-4636C8D607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469D916F-9D3D-4D1D-81A8-93483D6709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297666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69D916F-9D3D-4D1D-81A8-93483D6709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Picture 2" descr="Big for small patients - Smiling Gecko">
            <a:extLst>
              <a:ext uri="{FF2B5EF4-FFF2-40B4-BE49-F238E27FC236}">
                <a16:creationId xmlns:a16="http://schemas.microsoft.com/office/drawing/2014/main" id="{091A3CA9-F3AB-4450-D2BF-9A0B942CADE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521" r="24478"/>
          <a:stretch/>
        </p:blipFill>
        <p:spPr bwMode="auto">
          <a:xfrm>
            <a:off x="6096000" y="0"/>
            <a:ext cx="6096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Oval 3">
            <a:extLst>
              <a:ext uri="{FF2B5EF4-FFF2-40B4-BE49-F238E27FC236}">
                <a16:creationId xmlns:a16="http://schemas.microsoft.com/office/drawing/2014/main" id="{26BF68C2-6FA9-D2DF-6AE8-BE60A4EE292A}"/>
              </a:ext>
            </a:extLst>
          </p:cNvPr>
          <p:cNvSpPr/>
          <p:nvPr/>
        </p:nvSpPr>
        <p:spPr>
          <a:xfrm>
            <a:off x="5142000" y="2475000"/>
            <a:ext cx="1908000" cy="1908000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FD311A2C-DDA1-A054-C02D-71BA983728A0}"/>
              </a:ext>
            </a:extLst>
          </p:cNvPr>
          <p:cNvSpPr/>
          <p:nvPr/>
        </p:nvSpPr>
        <p:spPr>
          <a:xfrm>
            <a:off x="338667" y="0"/>
            <a:ext cx="711200" cy="1151467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76F476BB-CF7A-6884-805D-EE53677E2D5D}"/>
              </a:ext>
            </a:extLst>
          </p:cNvPr>
          <p:cNvSpPr txBox="1"/>
          <p:nvPr/>
        </p:nvSpPr>
        <p:spPr>
          <a:xfrm>
            <a:off x="5513149" y="3013502"/>
            <a:ext cx="1165705" cy="83099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de-DE" sz="2400" b="1" dirty="0" err="1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Your</a:t>
            </a:r>
            <a:r>
              <a:rPr lang="de-DE" sz="2400" b="1" dirty="0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</a:p>
          <a:p>
            <a:pPr algn="ctr"/>
            <a:r>
              <a:rPr lang="de-DE" sz="2400" b="1" dirty="0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Impact</a:t>
            </a:r>
          </a:p>
        </p:txBody>
      </p:sp>
      <p:pic>
        <p:nvPicPr>
          <p:cNvPr id="6" name="Grafik 5" descr="Brainstorming mit einfarbiger Füllung">
            <a:extLst>
              <a:ext uri="{FF2B5EF4-FFF2-40B4-BE49-F238E27FC236}">
                <a16:creationId xmlns:a16="http://schemas.microsoft.com/office/drawing/2014/main" id="{EAEB026B-0308-CE51-7432-215C1A528CC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38668" y="414338"/>
            <a:ext cx="737128" cy="737128"/>
          </a:xfrm>
          <a:prstGeom prst="rect">
            <a:avLst/>
          </a:prstGeom>
        </p:spPr>
      </p:pic>
      <p:sp>
        <p:nvSpPr>
          <p:cNvPr id="3" name="Oval 2">
            <a:extLst>
              <a:ext uri="{FF2B5EF4-FFF2-40B4-BE49-F238E27FC236}">
                <a16:creationId xmlns:a16="http://schemas.microsoft.com/office/drawing/2014/main" id="{B978839E-8310-B197-A796-2550F250E74E}"/>
              </a:ext>
            </a:extLst>
          </p:cNvPr>
          <p:cNvSpPr/>
          <p:nvPr/>
        </p:nvSpPr>
        <p:spPr>
          <a:xfrm>
            <a:off x="10050394" y="197466"/>
            <a:ext cx="1908000" cy="1908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BDEDF012-12B9-3408-526C-7B00047C2C4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673849" y="550298"/>
            <a:ext cx="661087" cy="465208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4997244C-A880-D8FE-7FBA-D92F858FD1C8}"/>
              </a:ext>
            </a:extLst>
          </p:cNvPr>
          <p:cNvSpPr txBox="1"/>
          <p:nvPr/>
        </p:nvSpPr>
        <p:spPr>
          <a:xfrm>
            <a:off x="10037907" y="1069672"/>
            <a:ext cx="193297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16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Emergency Relief &amp; Basic Needs</a:t>
            </a:r>
          </a:p>
          <a:p>
            <a:pPr algn="ctr"/>
            <a:endParaRPr lang="de-CH" sz="1600" dirty="0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D6331C2E-22A2-8305-4ADE-0E5B26DA8EE1}"/>
              </a:ext>
            </a:extLst>
          </p:cNvPr>
          <p:cNvSpPr txBox="1"/>
          <p:nvPr/>
        </p:nvSpPr>
        <p:spPr>
          <a:xfrm>
            <a:off x="467609" y="1333736"/>
            <a:ext cx="4578264" cy="136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 algn="r">
              <a:lnSpc>
                <a:spcPts val="2500"/>
              </a:lnSpc>
              <a:buNone/>
            </a:pPr>
            <a:r>
              <a:rPr lang="en-GB" sz="18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SG has integrated a </a:t>
            </a:r>
            <a:r>
              <a:rPr lang="en-GB" sz="1800" dirty="0">
                <a:solidFill>
                  <a:srgbClr val="C00000"/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medical and dental </a:t>
            </a:r>
            <a:r>
              <a:rPr lang="en-GB" dirty="0">
                <a:solidFill>
                  <a:srgbClr val="C00000"/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c</a:t>
            </a:r>
            <a:r>
              <a:rPr lang="en-GB" sz="1800" dirty="0">
                <a:solidFill>
                  <a:srgbClr val="C00000"/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linic </a:t>
            </a:r>
            <a:r>
              <a:rPr lang="en-GB" sz="18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into its education </a:t>
            </a:r>
            <a:r>
              <a:rPr lang="en-GB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c</a:t>
            </a:r>
            <a:r>
              <a:rPr lang="en-GB" sz="18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ampus, offering first aid services, preventive care and medical education </a:t>
            </a:r>
            <a:endParaRPr lang="en-GB" sz="1800" dirty="0">
              <a:solidFill>
                <a:srgbClr val="C00000"/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4C11BCEB-7F1B-5474-19FB-A3F64AC4C786}"/>
              </a:ext>
            </a:extLst>
          </p:cNvPr>
          <p:cNvSpPr txBox="1"/>
          <p:nvPr/>
        </p:nvSpPr>
        <p:spPr>
          <a:xfrm>
            <a:off x="1075796" y="600007"/>
            <a:ext cx="395534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Medicine and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Vaccination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Donations</a:t>
            </a:r>
            <a:endParaRPr lang="de-DE" sz="2400" dirty="0">
              <a:solidFill>
                <a:srgbClr val="C00000"/>
              </a:solidFill>
              <a:latin typeface="Avenir Medium" panose="02000503020000020003" pitchFamily="2" charset="0"/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3214DBB2-A53E-6F40-70DE-67F4053D9BCE}"/>
              </a:ext>
            </a:extLst>
          </p:cNvPr>
          <p:cNvSpPr txBox="1"/>
          <p:nvPr/>
        </p:nvSpPr>
        <p:spPr>
          <a:xfrm>
            <a:off x="1555825" y="2712219"/>
            <a:ext cx="345017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The Problem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it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resolves</a:t>
            </a:r>
            <a:endParaRPr lang="de-DE" sz="2400" dirty="0">
              <a:solidFill>
                <a:srgbClr val="C00000"/>
              </a:solidFill>
              <a:latin typeface="Avenir Medium" panose="02000503020000020003" pitchFamily="2" charset="0"/>
            </a:endParaRP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3028E926-EEEE-F073-25A7-1F7073B263CF}"/>
              </a:ext>
            </a:extLst>
          </p:cNvPr>
          <p:cNvSpPr txBox="1"/>
          <p:nvPr/>
        </p:nvSpPr>
        <p:spPr>
          <a:xfrm>
            <a:off x="1183341" y="4945509"/>
            <a:ext cx="3863539" cy="7213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ts val="2500"/>
              </a:lnSpc>
            </a:pPr>
            <a:r>
              <a:rPr lang="en-GB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In-kind donation of 300 doses of COVID vaccine</a:t>
            </a:r>
          </a:p>
        </p:txBody>
      </p:sp>
      <p:pic>
        <p:nvPicPr>
          <p:cNvPr id="24" name="Picture 4" descr="How can I become more sustainable? Paperwise chooses the SDGS as a guiding  principle – PaperWise">
            <a:extLst>
              <a:ext uri="{FF2B5EF4-FFF2-40B4-BE49-F238E27FC236}">
                <a16:creationId xmlns:a16="http://schemas.microsoft.com/office/drawing/2014/main" id="{324AB6B1-5585-1AF6-910C-55E119F53FD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754" t="25763" r="74344" b="54836"/>
          <a:stretch/>
        </p:blipFill>
        <p:spPr bwMode="auto">
          <a:xfrm>
            <a:off x="3645644" y="5773320"/>
            <a:ext cx="583413" cy="5715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feld 16">
            <a:extLst>
              <a:ext uri="{FF2B5EF4-FFF2-40B4-BE49-F238E27FC236}">
                <a16:creationId xmlns:a16="http://schemas.microsoft.com/office/drawing/2014/main" id="{A350A462-5770-5E6F-2F7C-E0AB3C72E6C0}"/>
              </a:ext>
            </a:extLst>
          </p:cNvPr>
          <p:cNvSpPr txBox="1"/>
          <p:nvPr/>
        </p:nvSpPr>
        <p:spPr>
          <a:xfrm>
            <a:off x="2894525" y="4509017"/>
            <a:ext cx="211147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Funding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need</a:t>
            </a:r>
            <a:endParaRPr lang="de-DE" sz="2400" dirty="0">
              <a:solidFill>
                <a:srgbClr val="C00000"/>
              </a:solidFill>
              <a:latin typeface="Avenir Medium" panose="02000503020000020003" pitchFamily="2" charset="0"/>
            </a:endParaRPr>
          </a:p>
        </p:txBody>
      </p:sp>
      <p:pic>
        <p:nvPicPr>
          <p:cNvPr id="4100" name="Picture 4" descr="How can I become more sustainable? Paperwise chooses the SDGS as a guiding  principle – PaperWise">
            <a:extLst>
              <a:ext uri="{FF2B5EF4-FFF2-40B4-BE49-F238E27FC236}">
                <a16:creationId xmlns:a16="http://schemas.microsoft.com/office/drawing/2014/main" id="{F39195AA-347D-371F-4200-F3A9DDDFB08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038" t="25928" r="51060" b="54671"/>
          <a:stretch/>
        </p:blipFill>
        <p:spPr bwMode="auto">
          <a:xfrm>
            <a:off x="4327988" y="5775987"/>
            <a:ext cx="583413" cy="5715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7147C2EE-2521-4987-AB70-EF728250522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1388654" y="6163971"/>
            <a:ext cx="628721" cy="523484"/>
          </a:xfrm>
          <a:prstGeom prst="rect">
            <a:avLst/>
          </a:prstGeom>
        </p:spPr>
      </p:pic>
      <p:graphicFrame>
        <p:nvGraphicFramePr>
          <p:cNvPr id="26" name="Tabelle 25">
            <a:extLst>
              <a:ext uri="{FF2B5EF4-FFF2-40B4-BE49-F238E27FC236}">
                <a16:creationId xmlns:a16="http://schemas.microsoft.com/office/drawing/2014/main" id="{01B17CAA-505F-ECA7-10C2-67AB41DFAD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86604263"/>
              </p:ext>
            </p:extLst>
          </p:nvPr>
        </p:nvGraphicFramePr>
        <p:xfrm>
          <a:off x="450377" y="3173885"/>
          <a:ext cx="4555624" cy="1463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77812">
                  <a:extLst>
                    <a:ext uri="{9D8B030D-6E8A-4147-A177-3AD203B41FA5}">
                      <a16:colId xmlns:a16="http://schemas.microsoft.com/office/drawing/2014/main" val="3438290452"/>
                    </a:ext>
                  </a:extLst>
                </a:gridCol>
                <a:gridCol w="2277812">
                  <a:extLst>
                    <a:ext uri="{9D8B030D-6E8A-4147-A177-3AD203B41FA5}">
                      <a16:colId xmlns:a16="http://schemas.microsoft.com/office/drawing/2014/main" val="4043960704"/>
                    </a:ext>
                  </a:extLst>
                </a:gridCol>
              </a:tblGrid>
              <a:tr h="1457404">
                <a:tc>
                  <a:txBody>
                    <a:bodyPr/>
                    <a:lstStyle/>
                    <a:p>
                      <a:pPr algn="r"/>
                      <a:r>
                        <a:rPr lang="de-DE" sz="1800" b="0" kern="1200" dirty="0" err="1">
                          <a:solidFill>
                            <a:srgbClr val="C00000"/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Healthcare</a:t>
                      </a:r>
                      <a:r>
                        <a:rPr lang="de-DE" sz="1800" b="0" kern="1200" dirty="0">
                          <a:solidFill>
                            <a:srgbClr val="C00000"/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b="0" kern="1200" dirty="0" err="1">
                          <a:solidFill>
                            <a:srgbClr val="C00000"/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facilities</a:t>
                      </a:r>
                      <a:r>
                        <a:rPr lang="de-DE" sz="1800" b="0" kern="1200" dirty="0">
                          <a:solidFill>
                            <a:srgbClr val="C00000"/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in Kampong </a:t>
                      </a:r>
                      <a:r>
                        <a:rPr lang="de-DE" sz="1800" b="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Chhnang</a:t>
                      </a:r>
                      <a:r>
                        <a:rPr lang="de-DE" sz="18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Province </a:t>
                      </a:r>
                      <a:r>
                        <a:rPr lang="de-DE" sz="1800" b="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remain</a:t>
                      </a:r>
                      <a:r>
                        <a:rPr lang="de-DE" sz="18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b="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critically</a:t>
                      </a:r>
                      <a:r>
                        <a:rPr lang="de-DE" sz="18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b="0" kern="1200" dirty="0" err="1">
                          <a:solidFill>
                            <a:srgbClr val="C00000"/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underdeveloped</a:t>
                      </a:r>
                      <a:endParaRPr lang="de-DE" sz="1800" b="0" kern="1200" dirty="0">
                        <a:solidFill>
                          <a:srgbClr val="C00000"/>
                        </a:solidFill>
                        <a:latin typeface="Avenir Book" panose="02000503020000020003" pitchFamily="2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0" hangingPunct="1"/>
                      <a:r>
                        <a:rPr lang="de-DE" sz="18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The </a:t>
                      </a:r>
                      <a:r>
                        <a:rPr lang="de-DE" sz="1800" b="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farm</a:t>
                      </a:r>
                      <a:r>
                        <a:rPr lang="de-DE" sz="18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b="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can</a:t>
                      </a:r>
                      <a:r>
                        <a:rPr lang="de-DE" sz="18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b="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improving</a:t>
                      </a:r>
                      <a:r>
                        <a:rPr lang="de-DE" sz="18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b="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both</a:t>
                      </a:r>
                      <a:r>
                        <a:rPr lang="de-DE" sz="18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b="0" kern="1200" dirty="0" err="1">
                          <a:solidFill>
                            <a:srgbClr val="C00000"/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food</a:t>
                      </a:r>
                      <a:r>
                        <a:rPr lang="de-DE" sz="1800" b="0" kern="1200" dirty="0">
                          <a:solidFill>
                            <a:srgbClr val="C00000"/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b="0" kern="1200" dirty="0" err="1">
                          <a:solidFill>
                            <a:srgbClr val="C00000"/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security</a:t>
                      </a:r>
                      <a:r>
                        <a:rPr lang="de-DE" sz="1800" b="0" kern="1200" dirty="0">
                          <a:solidFill>
                            <a:srgbClr val="C00000"/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and </a:t>
                      </a:r>
                      <a:r>
                        <a:rPr lang="de-DE" sz="1800" b="0" kern="1200" dirty="0" err="1">
                          <a:solidFill>
                            <a:srgbClr val="C00000"/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farmer</a:t>
                      </a:r>
                      <a:r>
                        <a:rPr lang="de-DE" sz="1800" b="0" kern="1200" dirty="0">
                          <a:solidFill>
                            <a:srgbClr val="C00000"/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b="0" kern="1200" dirty="0" err="1">
                          <a:solidFill>
                            <a:srgbClr val="C00000"/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incomes</a:t>
                      </a:r>
                      <a:endParaRPr lang="de-DE" sz="1800" b="0" kern="1200" dirty="0">
                        <a:solidFill>
                          <a:srgbClr val="C00000"/>
                        </a:solidFill>
                        <a:latin typeface="Avenir Book" panose="02000503020000020003" pitchFamily="2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algn="r"/>
                      <a:endParaRPr lang="de-DE" b="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9680725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2400599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72D9C36-3174-6C46-31E5-DD205DD280E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741174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2D9C36-3174-6C46-31E5-DD205DD280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feld 3">
            <a:extLst>
              <a:ext uri="{FF2B5EF4-FFF2-40B4-BE49-F238E27FC236}">
                <a16:creationId xmlns:a16="http://schemas.microsoft.com/office/drawing/2014/main" id="{44C3B0D9-116D-A3C3-8B18-4B327AD791F1}"/>
              </a:ext>
            </a:extLst>
          </p:cNvPr>
          <p:cNvSpPr txBox="1"/>
          <p:nvPr/>
        </p:nvSpPr>
        <p:spPr>
          <a:xfrm>
            <a:off x="812800" y="2828835"/>
            <a:ext cx="4804228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Organizations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in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Switzerland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that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have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already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successfully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integrated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Smiling Gecko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into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their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CSR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framework</a:t>
            </a:r>
            <a:endParaRPr lang="de-DE" sz="2400" dirty="0">
              <a:solidFill>
                <a:srgbClr val="C00000"/>
              </a:solidFill>
              <a:latin typeface="Avenir Medium" panose="02000503020000020003" pitchFamily="2" charset="0"/>
            </a:endParaRPr>
          </a:p>
        </p:txBody>
      </p:sp>
      <p:pic>
        <p:nvPicPr>
          <p:cNvPr id="5" name="Grafik 4" descr="Ein Bild, das Entwurf, Zeichnung, Kinderkunst, Grafiken enthält.&#10;&#10;Automatisch generierte Beschreibung">
            <a:extLst>
              <a:ext uri="{FF2B5EF4-FFF2-40B4-BE49-F238E27FC236}">
                <a16:creationId xmlns:a16="http://schemas.microsoft.com/office/drawing/2014/main" id="{06AF5FAF-DF00-26BE-7FF5-10928F3033CA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b="23627"/>
          <a:stretch/>
        </p:blipFill>
        <p:spPr>
          <a:xfrm>
            <a:off x="11372092" y="6148136"/>
            <a:ext cx="668594" cy="551113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C5A6223E-681E-7817-6F1E-79973690FB72}"/>
              </a:ext>
            </a:extLst>
          </p:cNvPr>
          <p:cNvSpPr/>
          <p:nvPr/>
        </p:nvSpPr>
        <p:spPr>
          <a:xfrm>
            <a:off x="338667" y="0"/>
            <a:ext cx="711200" cy="1151467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7" name="Grafik 6" descr="Ambition mit einfarbiger Füllung">
            <a:extLst>
              <a:ext uri="{FF2B5EF4-FFF2-40B4-BE49-F238E27FC236}">
                <a16:creationId xmlns:a16="http://schemas.microsoft.com/office/drawing/2014/main" id="{FFD13875-C7CB-49B0-FF59-D575707B182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38667" y="370562"/>
            <a:ext cx="711629" cy="711629"/>
          </a:xfrm>
          <a:prstGeom prst="rect">
            <a:avLst/>
          </a:prstGeom>
        </p:spPr>
      </p:pic>
      <p:pic>
        <p:nvPicPr>
          <p:cNvPr id="2" name="Grafik 1">
            <a:extLst>
              <a:ext uri="{FF2B5EF4-FFF2-40B4-BE49-F238E27FC236}">
                <a16:creationId xmlns:a16="http://schemas.microsoft.com/office/drawing/2014/main" id="{C7611CC9-A34F-3FB1-3808-CA3EA2C07BF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236945" y="683310"/>
            <a:ext cx="5616388" cy="52272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565496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DCA4048-97E3-35B9-1AB0-367571D39D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FD16398-8B01-DAE8-C0E6-AD42E4AD382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543230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6D5D3E4-F7F7-82CD-4374-AEEC653FCE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Tabelle 1">
            <a:extLst>
              <a:ext uri="{FF2B5EF4-FFF2-40B4-BE49-F238E27FC236}">
                <a16:creationId xmlns:a16="http://schemas.microsoft.com/office/drawing/2014/main" id="{9996DCFF-0FC3-AF58-8A85-40C15D2C594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73407524"/>
              </p:ext>
            </p:extLst>
          </p:nvPr>
        </p:nvGraphicFramePr>
        <p:xfrm>
          <a:off x="4776658" y="449706"/>
          <a:ext cx="7081520" cy="59853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66010">
                  <a:extLst>
                    <a:ext uri="{9D8B030D-6E8A-4147-A177-3AD203B41FA5}">
                      <a16:colId xmlns:a16="http://schemas.microsoft.com/office/drawing/2014/main" val="3947957124"/>
                    </a:ext>
                  </a:extLst>
                </a:gridCol>
                <a:gridCol w="4715510">
                  <a:extLst>
                    <a:ext uri="{9D8B030D-6E8A-4147-A177-3AD203B41FA5}">
                      <a16:colId xmlns:a16="http://schemas.microsoft.com/office/drawing/2014/main" val="2816708253"/>
                    </a:ext>
                  </a:extLst>
                </a:gridCol>
              </a:tblGrid>
              <a:tr h="149837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de-DE" sz="1800" b="1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Avenir Book" panose="02000503020000020003" pitchFamily="2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Monthly </a:t>
                      </a:r>
                      <a:r>
                        <a:rPr lang="de-DE" sz="1800" b="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updated</a:t>
                      </a:r>
                      <a:r>
                        <a:rPr lang="de-DE" sz="18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b="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marketing</a:t>
                      </a:r>
                      <a:r>
                        <a:rPr lang="de-DE" sz="18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material </a:t>
                      </a:r>
                      <a:r>
                        <a:rPr lang="de-DE" sz="1800" b="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produced</a:t>
                      </a:r>
                      <a:r>
                        <a:rPr lang="de-DE" sz="18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b="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by</a:t>
                      </a:r>
                      <a:r>
                        <a:rPr lang="de-DE" sz="18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an on-site </a:t>
                      </a:r>
                      <a:r>
                        <a:rPr lang="de-DE" sz="1800" b="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video</a:t>
                      </a:r>
                      <a:r>
                        <a:rPr lang="de-DE" sz="18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b="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team</a:t>
                      </a:r>
                      <a:r>
                        <a:rPr lang="de-DE" sz="18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in </a:t>
                      </a:r>
                      <a:r>
                        <a:rPr lang="de-DE" sz="1800" b="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Cambodia</a:t>
                      </a:r>
                      <a:endParaRPr lang="de-DE" sz="1800" b="0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Avenir Book" panose="02000503020000020003" pitchFamily="2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800" b="0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Avenir Book" panose="02000503020000020003" pitchFamily="2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7913426"/>
                  </a:ext>
                </a:extLst>
              </a:tr>
              <a:tr h="149837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de-DE" sz="1800" b="1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Avenir Book" panose="02000503020000020003" pitchFamily="2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Interactive </a:t>
                      </a:r>
                      <a:r>
                        <a:rPr lang="de-DE" sz="180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workshops</a:t>
                      </a:r>
                      <a:r>
                        <a:rPr lang="de-DE" sz="18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(online and in UK), </a:t>
                      </a:r>
                      <a:r>
                        <a:rPr lang="de-DE" sz="180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highlighting</a:t>
                      </a:r>
                      <a:r>
                        <a:rPr lang="de-DE" sz="18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Smiling </a:t>
                      </a:r>
                      <a:r>
                        <a:rPr lang="de-DE" sz="180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Gecko’s</a:t>
                      </a:r>
                      <a:r>
                        <a:rPr lang="de-DE" sz="18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work</a:t>
                      </a:r>
                      <a:r>
                        <a:rPr lang="de-DE" sz="18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and </a:t>
                      </a:r>
                      <a:r>
                        <a:rPr lang="de-DE" sz="180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impact</a:t>
                      </a:r>
                      <a:endParaRPr lang="de-DE" sz="1800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Avenir Book" panose="02000503020000020003" pitchFamily="2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algn="l" defTabSz="914400" rtl="0" eaLnBrk="1" latinLnBrk="0" hangingPunct="1"/>
                      <a:endParaRPr lang="de-DE" sz="1800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Avenir Book" panose="02000503020000020003" pitchFamily="2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5763483"/>
                  </a:ext>
                </a:extLst>
              </a:tr>
              <a:tr h="149027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de-DE" sz="1800" b="1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Avenir Book" panose="02000503020000020003" pitchFamily="2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de-DE" sz="18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Regular </a:t>
                      </a:r>
                      <a:r>
                        <a:rPr lang="de-DE" sz="180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reporting</a:t>
                      </a:r>
                      <a:r>
                        <a:rPr lang="de-DE" sz="18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with</a:t>
                      </a:r>
                      <a:r>
                        <a:rPr lang="de-DE" sz="18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KPIs and </a:t>
                      </a:r>
                      <a:r>
                        <a:rPr lang="de-DE" sz="180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progress</a:t>
                      </a:r>
                      <a:r>
                        <a:rPr lang="de-DE" sz="18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updates</a:t>
                      </a:r>
                      <a:r>
                        <a:rPr lang="de-DE" sz="18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(SDGs, CSRD </a:t>
                      </a:r>
                      <a:r>
                        <a:rPr lang="de-DE" sz="180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reporting</a:t>
                      </a:r>
                      <a:r>
                        <a:rPr lang="de-DE" sz="18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)</a:t>
                      </a:r>
                    </a:p>
                    <a:p>
                      <a:pPr marL="0" algn="l" defTabSz="914400" rtl="0" eaLnBrk="1" latinLnBrk="0" hangingPunct="1"/>
                      <a:endParaRPr lang="de-DE" sz="1800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Avenir Book" panose="02000503020000020003" pitchFamily="2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algn="l" defTabSz="914400" rtl="0" eaLnBrk="1" latinLnBrk="0" hangingPunct="1"/>
                      <a:endParaRPr lang="de-DE" sz="1800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Avenir Book" panose="02000503020000020003" pitchFamily="2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3091975"/>
                  </a:ext>
                </a:extLst>
              </a:tr>
              <a:tr h="1498371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de-DE" sz="18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Visits </a:t>
                      </a:r>
                      <a:r>
                        <a:rPr lang="de-DE" sz="180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to</a:t>
                      </a:r>
                      <a:r>
                        <a:rPr lang="de-DE" sz="18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Smiling Gecko Campus, </a:t>
                      </a:r>
                      <a:r>
                        <a:rPr lang="de-DE" sz="180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with</a:t>
                      </a:r>
                      <a:r>
                        <a:rPr lang="de-DE" sz="18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full</a:t>
                      </a:r>
                      <a:r>
                        <a:rPr lang="de-DE" sz="18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access</a:t>
                      </a:r>
                      <a:r>
                        <a:rPr lang="de-DE" sz="18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to</a:t>
                      </a:r>
                      <a:r>
                        <a:rPr lang="de-DE" sz="18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the</a:t>
                      </a:r>
                      <a:r>
                        <a:rPr lang="de-DE" sz="18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resort’s</a:t>
                      </a:r>
                      <a:r>
                        <a:rPr lang="de-DE" sz="18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amenities</a:t>
                      </a:r>
                      <a:endParaRPr lang="de-DE" sz="1800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Avenir Book" panose="02000503020000020003" pitchFamily="2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endParaRPr lang="de-DE" sz="1800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Avenir Book" panose="02000503020000020003" pitchFamily="2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endParaRPr lang="de-DE" sz="1800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Avenir Book" panose="02000503020000020003" pitchFamily="2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043541"/>
                  </a:ext>
                </a:extLst>
              </a:tr>
            </a:tbl>
          </a:graphicData>
        </a:graphic>
      </p:graphicFrame>
      <p:pic>
        <p:nvPicPr>
          <p:cNvPr id="6" name="Grafik 5" descr="Ein Bild, das Person, Kleidung, Im Haus, Kochen enthält.&#10;&#10;Automatisch generierte Beschreibung">
            <a:extLst>
              <a:ext uri="{FF2B5EF4-FFF2-40B4-BE49-F238E27FC236}">
                <a16:creationId xmlns:a16="http://schemas.microsoft.com/office/drawing/2014/main" id="{7FEA2D09-9D60-5829-7B93-9B91840C6DB4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208" t="21596" r="23122" b="9090"/>
          <a:stretch/>
        </p:blipFill>
        <p:spPr>
          <a:xfrm>
            <a:off x="5453552" y="1983883"/>
            <a:ext cx="1284896" cy="1283178"/>
          </a:xfrm>
          <a:prstGeom prst="ellipse">
            <a:avLst/>
          </a:prstGeom>
        </p:spPr>
      </p:pic>
      <p:sp>
        <p:nvSpPr>
          <p:cNvPr id="5" name="Rechteck 4">
            <a:extLst>
              <a:ext uri="{FF2B5EF4-FFF2-40B4-BE49-F238E27FC236}">
                <a16:creationId xmlns:a16="http://schemas.microsoft.com/office/drawing/2014/main" id="{6CDE4400-DAA5-FD86-922C-144F2CD303ED}"/>
              </a:ext>
            </a:extLst>
          </p:cNvPr>
          <p:cNvSpPr/>
          <p:nvPr/>
        </p:nvSpPr>
        <p:spPr>
          <a:xfrm>
            <a:off x="338667" y="0"/>
            <a:ext cx="711200" cy="1151467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12" name="Grafik 11" descr="Handschlag mit einfarbiger Füllung">
            <a:extLst>
              <a:ext uri="{FF2B5EF4-FFF2-40B4-BE49-F238E27FC236}">
                <a16:creationId xmlns:a16="http://schemas.microsoft.com/office/drawing/2014/main" id="{2983E599-75A8-E965-FC22-538EE66EDA0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33670" y="449706"/>
            <a:ext cx="711200" cy="711200"/>
          </a:xfrm>
          <a:prstGeom prst="rect">
            <a:avLst/>
          </a:prstGeom>
        </p:spPr>
      </p:pic>
      <p:pic>
        <p:nvPicPr>
          <p:cNvPr id="15" name="Grafik 14" descr="Ein Bild, das Entwurf, Zeichnung, Kinderkunst, Grafiken enthält.&#10;&#10;Automatisch generierte Beschreibung">
            <a:extLst>
              <a:ext uri="{FF2B5EF4-FFF2-40B4-BE49-F238E27FC236}">
                <a16:creationId xmlns:a16="http://schemas.microsoft.com/office/drawing/2014/main" id="{9A00D74A-6406-2C53-602E-9CC906BF952A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 b="23627"/>
          <a:stretch/>
        </p:blipFill>
        <p:spPr>
          <a:xfrm>
            <a:off x="11372092" y="6148136"/>
            <a:ext cx="668594" cy="551113"/>
          </a:xfrm>
          <a:prstGeom prst="rect">
            <a:avLst/>
          </a:prstGeom>
        </p:spPr>
      </p:pic>
      <p:pic>
        <p:nvPicPr>
          <p:cNvPr id="1026" name="Picture 2" descr="Farmhouse Resort &amp; Spa, Kampong Chhnang (aktualisierte Preise für 2024)">
            <a:extLst>
              <a:ext uri="{FF2B5EF4-FFF2-40B4-BE49-F238E27FC236}">
                <a16:creationId xmlns:a16="http://schemas.microsoft.com/office/drawing/2014/main" id="{EBDC94C9-FF01-0DEF-3793-9BC58C52276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473" r="815"/>
          <a:stretch/>
        </p:blipFill>
        <p:spPr bwMode="auto">
          <a:xfrm>
            <a:off x="5453552" y="4935173"/>
            <a:ext cx="1284895" cy="1284600"/>
          </a:xfrm>
          <a:prstGeom prst="ellipse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Playful learning - Smiling Gecko">
            <a:extLst>
              <a:ext uri="{FF2B5EF4-FFF2-40B4-BE49-F238E27FC236}">
                <a16:creationId xmlns:a16="http://schemas.microsoft.com/office/drawing/2014/main" id="{6F5173CE-4F9B-F3E8-ED24-5307F954FDF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83" t="13265" r="55720" b="23298"/>
          <a:stretch/>
        </p:blipFill>
        <p:spPr bwMode="auto">
          <a:xfrm>
            <a:off x="5453552" y="3457847"/>
            <a:ext cx="1284897" cy="1286540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Handwerk und Produktion - Smiling Gecko">
            <a:extLst>
              <a:ext uri="{FF2B5EF4-FFF2-40B4-BE49-F238E27FC236}">
                <a16:creationId xmlns:a16="http://schemas.microsoft.com/office/drawing/2014/main" id="{B38C3D3D-5464-1CB1-158C-B153EBA7287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46" t="545" r="38939" b="36304"/>
          <a:stretch/>
        </p:blipFill>
        <p:spPr bwMode="auto">
          <a:xfrm>
            <a:off x="5453552" y="509837"/>
            <a:ext cx="1284896" cy="1283260"/>
          </a:xfrm>
          <a:prstGeom prst="ellipse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9BBF5D6D-D9F7-8374-FDBF-578E0FDCC35D}"/>
              </a:ext>
            </a:extLst>
          </p:cNvPr>
          <p:cNvSpPr txBox="1"/>
          <p:nvPr/>
        </p:nvSpPr>
        <p:spPr>
          <a:xfrm>
            <a:off x="812800" y="2828835"/>
            <a:ext cx="4804228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If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you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want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to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help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us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,</a:t>
            </a:r>
          </a:p>
          <a:p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We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will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help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you</a:t>
            </a:r>
            <a:endParaRPr lang="de-DE" sz="2400" dirty="0">
              <a:solidFill>
                <a:srgbClr val="C00000"/>
              </a:solidFill>
              <a:latin typeface="Avenir Medium" panose="02000503020000020003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2925721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DFD7E9-7388-6521-A1EC-85D4D397586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758F800-8503-329C-96B7-6F524EB03B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40767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7772400" imgH="10058400" progId="TCLayout.ActiveDocument.1">
                  <p:embed/>
                </p:oleObj>
              </mc:Choice>
              <mc:Fallback>
                <p:oleObj name="think-cell Folie" r:id="rId5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758F800-8503-329C-96B7-6F524EB03B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Grafik 17" descr="Ein Bild, das Im Haus, Person, Handwerker, Werkzeug enthält.&#10;&#10;Automatisch generierte Beschreibung">
            <a:extLst>
              <a:ext uri="{FF2B5EF4-FFF2-40B4-BE49-F238E27FC236}">
                <a16:creationId xmlns:a16="http://schemas.microsoft.com/office/drawing/2014/main" id="{E3B36626-F3D7-2CD0-D667-EC56DA89FF0D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t="1890" r="20415"/>
          <a:stretch/>
        </p:blipFill>
        <p:spPr>
          <a:xfrm>
            <a:off x="6095999" y="0"/>
            <a:ext cx="6096001" cy="6867442"/>
          </a:xfrm>
          <a:prstGeom prst="rect">
            <a:avLst/>
          </a:prstGeom>
        </p:spPr>
      </p:pic>
      <p:sp>
        <p:nvSpPr>
          <p:cNvPr id="2" name="Oval 1">
            <a:extLst>
              <a:ext uri="{FF2B5EF4-FFF2-40B4-BE49-F238E27FC236}">
                <a16:creationId xmlns:a16="http://schemas.microsoft.com/office/drawing/2014/main" id="{F1E030DD-6631-1DC2-E22D-4AE68E954995}"/>
              </a:ext>
            </a:extLst>
          </p:cNvPr>
          <p:cNvSpPr/>
          <p:nvPr/>
        </p:nvSpPr>
        <p:spPr>
          <a:xfrm>
            <a:off x="811339" y="5085404"/>
            <a:ext cx="1290737" cy="1314574"/>
          </a:xfrm>
          <a:prstGeom prst="ellipse">
            <a:avLst/>
          </a:prstGeom>
          <a:solidFill>
            <a:srgbClr val="A3A3A3">
              <a:alpha val="54205"/>
            </a:srgbClr>
          </a:solidFill>
          <a:ln>
            <a:solidFill>
              <a:srgbClr val="A3A3A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dirty="0">
                <a:latin typeface="Avenir Book" panose="02000503020000020003" pitchFamily="2" charset="0"/>
              </a:rPr>
              <a:t>1</a:t>
            </a:r>
          </a:p>
          <a:p>
            <a:pPr algn="ctr"/>
            <a:r>
              <a:rPr lang="de-DE" sz="1100" dirty="0">
                <a:latin typeface="Avenir Book" panose="02000503020000020003" pitchFamily="2" charset="0"/>
              </a:rPr>
              <a:t>NGO</a:t>
            </a: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5265D1AA-1296-EE3B-E264-DF33A16A4B02}"/>
              </a:ext>
            </a:extLst>
          </p:cNvPr>
          <p:cNvSpPr/>
          <p:nvPr/>
        </p:nvSpPr>
        <p:spPr>
          <a:xfrm>
            <a:off x="2331301" y="5085404"/>
            <a:ext cx="1290737" cy="1314574"/>
          </a:xfrm>
          <a:prstGeom prst="ellipse">
            <a:avLst/>
          </a:prstGeom>
          <a:solidFill>
            <a:srgbClr val="A3A3A3">
              <a:alpha val="74813"/>
            </a:srgbClr>
          </a:solidFill>
          <a:ln>
            <a:solidFill>
              <a:srgbClr val="A3A3A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dirty="0">
                <a:latin typeface="Avenir Book" panose="02000503020000020003" pitchFamily="2" charset="0"/>
              </a:rPr>
              <a:t>2</a:t>
            </a:r>
          </a:p>
          <a:p>
            <a:pPr algn="ctr"/>
            <a:r>
              <a:rPr lang="de-DE" sz="1100" dirty="0" err="1">
                <a:latin typeface="Avenir Book" panose="02000503020000020003" pitchFamily="2" charset="0"/>
              </a:rPr>
              <a:t>Social</a:t>
            </a:r>
            <a:r>
              <a:rPr lang="de-DE" sz="1100" dirty="0">
                <a:latin typeface="Avenir Book" panose="02000503020000020003" pitchFamily="2" charset="0"/>
              </a:rPr>
              <a:t> Enterprise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4E8990CF-8EAA-9853-9154-3CFE29E81F97}"/>
              </a:ext>
            </a:extLst>
          </p:cNvPr>
          <p:cNvSpPr/>
          <p:nvPr/>
        </p:nvSpPr>
        <p:spPr>
          <a:xfrm>
            <a:off x="3851263" y="5085404"/>
            <a:ext cx="1290737" cy="1314574"/>
          </a:xfrm>
          <a:prstGeom prst="ellipse">
            <a:avLst/>
          </a:prstGeom>
          <a:solidFill>
            <a:srgbClr val="A3A3A3">
              <a:alpha val="85922"/>
            </a:srgbClr>
          </a:solidFill>
          <a:ln>
            <a:solidFill>
              <a:srgbClr val="A3A3A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dirty="0">
                <a:latin typeface="Avenir Book" panose="02000503020000020003" pitchFamily="2" charset="0"/>
              </a:rPr>
              <a:t>3</a:t>
            </a:r>
          </a:p>
          <a:p>
            <a:pPr algn="ctr"/>
            <a:r>
              <a:rPr lang="de-DE" sz="1100" dirty="0">
                <a:latin typeface="Avenir Book" panose="02000503020000020003" pitchFamily="2" charset="0"/>
              </a:rPr>
              <a:t>Self-</a:t>
            </a:r>
            <a:r>
              <a:rPr lang="de-DE" sz="1100" dirty="0" err="1">
                <a:latin typeface="Avenir Book" panose="02000503020000020003" pitchFamily="2" charset="0"/>
              </a:rPr>
              <a:t>Sufficient</a:t>
            </a:r>
            <a:r>
              <a:rPr lang="de-DE" sz="1100" dirty="0">
                <a:latin typeface="Avenir Book" panose="02000503020000020003" pitchFamily="2" charset="0"/>
              </a:rPr>
              <a:t> Community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695A9AF5-CCA9-8434-07C7-A8466675E40D}"/>
              </a:ext>
            </a:extLst>
          </p:cNvPr>
          <p:cNvSpPr/>
          <p:nvPr/>
        </p:nvSpPr>
        <p:spPr>
          <a:xfrm>
            <a:off x="5142000" y="2475000"/>
            <a:ext cx="1908000" cy="1908000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26B9031B-9673-FDAD-B8B6-31842FDD00E0}"/>
              </a:ext>
            </a:extLst>
          </p:cNvPr>
          <p:cNvSpPr txBox="1"/>
          <p:nvPr/>
        </p:nvSpPr>
        <p:spPr>
          <a:xfrm>
            <a:off x="5476120" y="2828836"/>
            <a:ext cx="1239763" cy="120032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de-DE" sz="2400" b="1" dirty="0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Smiling</a:t>
            </a:r>
          </a:p>
          <a:p>
            <a:pPr algn="ctr"/>
            <a:r>
              <a:rPr lang="de-DE" sz="2400" b="1" dirty="0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Gecko</a:t>
            </a:r>
          </a:p>
          <a:p>
            <a:pPr algn="ctr"/>
            <a:r>
              <a:rPr lang="de-DE" sz="2400" b="1" dirty="0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Model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A8265B36-126C-4D50-3A42-BA39D2FE7EBA}"/>
              </a:ext>
            </a:extLst>
          </p:cNvPr>
          <p:cNvSpPr/>
          <p:nvPr/>
        </p:nvSpPr>
        <p:spPr>
          <a:xfrm>
            <a:off x="338667" y="6126"/>
            <a:ext cx="711200" cy="1151467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42" name="Grafik 41" descr="Chevronpfeile mit einfarbiger Füllung">
            <a:extLst>
              <a:ext uri="{FF2B5EF4-FFF2-40B4-BE49-F238E27FC236}">
                <a16:creationId xmlns:a16="http://schemas.microsoft.com/office/drawing/2014/main" id="{70B2EDCA-D7D9-9FC5-E71E-98F4E7E716A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24812" y="434165"/>
            <a:ext cx="723427" cy="723427"/>
          </a:xfrm>
          <a:prstGeom prst="rect">
            <a:avLst/>
          </a:prstGeom>
        </p:spPr>
      </p:pic>
      <p:sp>
        <p:nvSpPr>
          <p:cNvPr id="43" name="Textfeld 42">
            <a:extLst>
              <a:ext uri="{FF2B5EF4-FFF2-40B4-BE49-F238E27FC236}">
                <a16:creationId xmlns:a16="http://schemas.microsoft.com/office/drawing/2014/main" id="{F98D24F9-2685-4312-DDB1-AAF672572C64}"/>
              </a:ext>
            </a:extLst>
          </p:cNvPr>
          <p:cNvSpPr txBox="1"/>
          <p:nvPr/>
        </p:nvSpPr>
        <p:spPr>
          <a:xfrm>
            <a:off x="563736" y="1214314"/>
            <a:ext cx="4578264" cy="35939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 algn="r">
              <a:lnSpc>
                <a:spcPts val="2500"/>
              </a:lnSpc>
              <a:buNone/>
            </a:pPr>
            <a:r>
              <a:rPr lang="en-GB" sz="18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The aim is to create a circular economy that generates revenue for the entire community while:</a:t>
            </a:r>
          </a:p>
          <a:p>
            <a:pPr marL="0" indent="0" algn="r">
              <a:lnSpc>
                <a:spcPts val="2500"/>
              </a:lnSpc>
              <a:buNone/>
            </a:pPr>
            <a:endParaRPr lang="en-GB" sz="1800" dirty="0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  <a:p>
            <a:pPr marL="285750" indent="-285750">
              <a:lnSpc>
                <a:spcPts val="25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Providing equal opportunities to </a:t>
            </a:r>
            <a:r>
              <a:rPr lang="en-GB" dirty="0">
                <a:solidFill>
                  <a:srgbClr val="C00000"/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bridge the inequality gap</a:t>
            </a:r>
          </a:p>
          <a:p>
            <a:pPr marL="285750" indent="-285750">
              <a:lnSpc>
                <a:spcPts val="25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Empowering communities through </a:t>
            </a:r>
            <a:r>
              <a:rPr lang="en-GB" dirty="0">
                <a:solidFill>
                  <a:srgbClr val="C00000"/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sustainable social enterprises</a:t>
            </a:r>
          </a:p>
          <a:p>
            <a:pPr marL="285750" indent="-285750">
              <a:lnSpc>
                <a:spcPts val="2500"/>
              </a:lnSpc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Attracting external investments to scale and </a:t>
            </a:r>
            <a:r>
              <a:rPr lang="en-GB" dirty="0">
                <a:solidFill>
                  <a:srgbClr val="C00000"/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replicate the model nationally</a:t>
            </a:r>
          </a:p>
        </p:txBody>
      </p:sp>
      <p:sp>
        <p:nvSpPr>
          <p:cNvPr id="44" name="Textfeld 43">
            <a:extLst>
              <a:ext uri="{FF2B5EF4-FFF2-40B4-BE49-F238E27FC236}">
                <a16:creationId xmlns:a16="http://schemas.microsoft.com/office/drawing/2014/main" id="{395E1E97-F742-2180-C6E2-B17BCDC1A4DD}"/>
              </a:ext>
            </a:extLst>
          </p:cNvPr>
          <p:cNvSpPr txBox="1"/>
          <p:nvPr/>
        </p:nvSpPr>
        <p:spPr>
          <a:xfrm>
            <a:off x="2847558" y="719358"/>
            <a:ext cx="213802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Self-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Sufficieny</a:t>
            </a:r>
            <a:endParaRPr lang="de-DE" sz="2400" dirty="0">
              <a:solidFill>
                <a:srgbClr val="C00000"/>
              </a:solidFill>
              <a:latin typeface="Avenir Medium" panose="02000503020000020003" pitchFamily="2" charset="0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D2BC6265-F6BA-763C-5E6B-04F05BF8A02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1388654" y="6163971"/>
            <a:ext cx="628721" cy="5234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3005586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4"/>
    </p:ext>
  </p:extLs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3961CAA-CC7F-53ED-360F-11E81969E6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F0F10080-0D6F-3929-4894-11A556960B0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007182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0F10080-0D6F-3929-4894-11A556960B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 descr="Ein Bild, das Person, Kleidung, Essen, Menschliches Gesicht enthält.&#10;&#10;Automatisch generierte Beschreibung">
            <a:extLst>
              <a:ext uri="{FF2B5EF4-FFF2-40B4-BE49-F238E27FC236}">
                <a16:creationId xmlns:a16="http://schemas.microsoft.com/office/drawing/2014/main" id="{828C5C42-7DBA-5724-9982-786900B2BC14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2778"/>
          <a:stretch/>
        </p:blipFill>
        <p:spPr>
          <a:xfrm>
            <a:off x="0" y="0"/>
            <a:ext cx="6095999" cy="6858000"/>
          </a:xfrm>
          <a:prstGeom prst="rect">
            <a:avLst/>
          </a:prstGeom>
        </p:spPr>
      </p:pic>
      <p:sp>
        <p:nvSpPr>
          <p:cNvPr id="4" name="Oval 3">
            <a:extLst>
              <a:ext uri="{FF2B5EF4-FFF2-40B4-BE49-F238E27FC236}">
                <a16:creationId xmlns:a16="http://schemas.microsoft.com/office/drawing/2014/main" id="{64A3FF87-B8B1-41EC-F071-D2D22248554A}"/>
              </a:ext>
            </a:extLst>
          </p:cNvPr>
          <p:cNvSpPr/>
          <p:nvPr/>
        </p:nvSpPr>
        <p:spPr>
          <a:xfrm>
            <a:off x="5142000" y="2475000"/>
            <a:ext cx="1908000" cy="1908000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0A85F7F6-19F8-7980-6827-2ADEB1DE86CC}"/>
              </a:ext>
            </a:extLst>
          </p:cNvPr>
          <p:cNvSpPr/>
          <p:nvPr/>
        </p:nvSpPr>
        <p:spPr>
          <a:xfrm>
            <a:off x="338667" y="0"/>
            <a:ext cx="711200" cy="1151467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0099537-C19F-82E1-0E21-7BC0ED1605CB}"/>
              </a:ext>
            </a:extLst>
          </p:cNvPr>
          <p:cNvSpPr txBox="1"/>
          <p:nvPr/>
        </p:nvSpPr>
        <p:spPr>
          <a:xfrm>
            <a:off x="5159686" y="3013502"/>
            <a:ext cx="1872628" cy="83099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de-DE" sz="2400" b="1" dirty="0" err="1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Evidence</a:t>
            </a:r>
            <a:r>
              <a:rPr lang="de-DE" sz="2400" b="1" dirty="0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2400" b="1" dirty="0" err="1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of</a:t>
            </a:r>
            <a:endParaRPr lang="de-DE" sz="2400" b="1" dirty="0">
              <a:solidFill>
                <a:schemeClr val="bg1"/>
              </a:solidFill>
              <a:latin typeface="Avenir Heavy" panose="02000503020000020003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algn="ctr"/>
            <a:r>
              <a:rPr lang="de-DE" sz="2400" b="1" dirty="0" err="1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Success</a:t>
            </a:r>
            <a:endParaRPr lang="de-DE" sz="2400" b="1" dirty="0">
              <a:solidFill>
                <a:schemeClr val="bg1"/>
              </a:solidFill>
              <a:latin typeface="Avenir Heavy" panose="02000503020000020003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58D8B1D5-DCE2-7D28-5BE0-EB4FF3B5A4FC}"/>
              </a:ext>
            </a:extLst>
          </p:cNvPr>
          <p:cNvSpPr txBox="1"/>
          <p:nvPr/>
        </p:nvSpPr>
        <p:spPr>
          <a:xfrm>
            <a:off x="7320823" y="1785859"/>
            <a:ext cx="4374612" cy="42479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>
              <a:lnSpc>
                <a:spcPts val="2500"/>
              </a:lnSpc>
              <a:buFont typeface="Arial" panose="020B0604020202020204" pitchFamily="34" charset="0"/>
              <a:buNone/>
            </a:pPr>
            <a:r>
              <a:rPr lang="en-US" sz="2400" dirty="0">
                <a:solidFill>
                  <a:srgbClr val="C00000"/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520</a:t>
            </a:r>
            <a:r>
              <a:rPr lang="en-US" sz="24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</a:t>
            </a:r>
          </a:p>
          <a:p>
            <a:pPr marL="0" indent="0">
              <a:lnSpc>
                <a:spcPts val="2500"/>
              </a:lnSpc>
              <a:buFont typeface="Arial" panose="020B0604020202020204" pitchFamily="34" charset="0"/>
              <a:buNone/>
            </a:pPr>
            <a:r>
              <a:rPr lang="en-US" sz="1800" dirty="0">
                <a:solidFill>
                  <a:srgbClr val="C00000"/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children</a:t>
            </a:r>
            <a:r>
              <a:rPr lang="en-US" sz="18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are going to school at the Smiling Gecko campus</a:t>
            </a:r>
            <a:endParaRPr lang="en-US" dirty="0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  <a:p>
            <a:pPr marL="0" indent="0">
              <a:lnSpc>
                <a:spcPts val="2500"/>
              </a:lnSpc>
              <a:buFont typeface="Arial" panose="020B0604020202020204" pitchFamily="34" charset="0"/>
              <a:buNone/>
            </a:pPr>
            <a:endParaRPr lang="en-US" sz="1800" dirty="0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  <a:p>
            <a:pPr marL="0" indent="0">
              <a:lnSpc>
                <a:spcPts val="2500"/>
              </a:lnSpc>
              <a:buFont typeface="Arial" panose="020B0604020202020204" pitchFamily="34" charset="0"/>
              <a:buNone/>
            </a:pPr>
            <a:r>
              <a:rPr lang="en-US" sz="2400" dirty="0">
                <a:solidFill>
                  <a:srgbClr val="C00000"/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50 </a:t>
            </a:r>
          </a:p>
          <a:p>
            <a:pPr marL="0" indent="0">
              <a:lnSpc>
                <a:spcPts val="2500"/>
              </a:lnSpc>
              <a:buFont typeface="Arial" panose="020B0604020202020204" pitchFamily="34" charset="0"/>
              <a:buNone/>
            </a:pPr>
            <a:r>
              <a:rPr lang="en-US" sz="1800" dirty="0">
                <a:solidFill>
                  <a:srgbClr val="C00000"/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more students </a:t>
            </a:r>
            <a:r>
              <a:rPr lang="en-US" sz="18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every year are planned, ensuring continuous growth and opportunities </a:t>
            </a:r>
          </a:p>
          <a:p>
            <a:pPr marL="0" indent="0">
              <a:lnSpc>
                <a:spcPts val="2500"/>
              </a:lnSpc>
              <a:buFont typeface="Arial" panose="020B0604020202020204" pitchFamily="34" charset="0"/>
              <a:buNone/>
            </a:pPr>
            <a:endParaRPr lang="en-US" sz="1800" dirty="0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  <a:p>
            <a:pPr marL="0" indent="0">
              <a:lnSpc>
                <a:spcPts val="2500"/>
              </a:lnSpc>
              <a:buFont typeface="Arial" panose="020B0604020202020204" pitchFamily="34" charset="0"/>
              <a:buNone/>
            </a:pPr>
            <a:r>
              <a:rPr lang="en-US" sz="18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Innovative initiatives like the Farmhouse have already achieved self-sufficiency, paving the way for sustainable progress and empowerment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9BB8F2B8-9139-DB23-A9DC-C98678C451E2}"/>
              </a:ext>
            </a:extLst>
          </p:cNvPr>
          <p:cNvSpPr txBox="1"/>
          <p:nvPr/>
        </p:nvSpPr>
        <p:spPr>
          <a:xfrm>
            <a:off x="7320823" y="748774"/>
            <a:ext cx="304532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Building a Future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for</a:t>
            </a:r>
            <a:endParaRPr lang="de-DE" sz="2400" dirty="0">
              <a:solidFill>
                <a:srgbClr val="C00000"/>
              </a:solidFill>
              <a:latin typeface="Avenir Medium" panose="02000503020000020003" pitchFamily="2" charset="0"/>
            </a:endParaRPr>
          </a:p>
          <a:p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Cambodia</a:t>
            </a:r>
            <a:endParaRPr lang="de-DE" sz="2400" dirty="0">
              <a:solidFill>
                <a:srgbClr val="C00000"/>
              </a:solidFill>
              <a:latin typeface="Avenir Medium" panose="02000503020000020003" pitchFamily="2" charset="0"/>
            </a:endParaRPr>
          </a:p>
        </p:txBody>
      </p:sp>
      <p:pic>
        <p:nvPicPr>
          <p:cNvPr id="19" name="Grafik 18" descr="Ein Bild, das Entwurf, Zeichnung, Kinderkunst, Grafiken enthält.&#10;&#10;Automatisch generierte Beschreibung">
            <a:extLst>
              <a:ext uri="{FF2B5EF4-FFF2-40B4-BE49-F238E27FC236}">
                <a16:creationId xmlns:a16="http://schemas.microsoft.com/office/drawing/2014/main" id="{8636AFA5-9B5A-0FEC-1F88-9E1E5DFE1CF4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b="23627"/>
          <a:stretch/>
        </p:blipFill>
        <p:spPr>
          <a:xfrm>
            <a:off x="11372092" y="6148136"/>
            <a:ext cx="668594" cy="551113"/>
          </a:xfrm>
          <a:prstGeom prst="rect">
            <a:avLst/>
          </a:prstGeom>
        </p:spPr>
      </p:pic>
      <p:pic>
        <p:nvPicPr>
          <p:cNvPr id="2" name="Grafik 1" descr="Geschäftswachstum mit einfarbiger Füllung">
            <a:extLst>
              <a:ext uri="{FF2B5EF4-FFF2-40B4-BE49-F238E27FC236}">
                <a16:creationId xmlns:a16="http://schemas.microsoft.com/office/drawing/2014/main" id="{C4E6A6FF-B996-63DB-A53F-E30BE0A91D7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38667" y="453073"/>
            <a:ext cx="711200" cy="71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98614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41</Words>
  <Application>Microsoft Macintosh PowerPoint</Application>
  <PresentationFormat>Breitbild</PresentationFormat>
  <Paragraphs>87</Paragraphs>
  <Slides>10</Slides>
  <Notes>4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0</vt:i4>
      </vt:variant>
    </vt:vector>
  </HeadingPairs>
  <TitlesOfParts>
    <vt:vector size="19" baseType="lpstr">
      <vt:lpstr>Aptos</vt:lpstr>
      <vt:lpstr>Aptos Display</vt:lpstr>
      <vt:lpstr>Arial</vt:lpstr>
      <vt:lpstr>Avenir Book</vt:lpstr>
      <vt:lpstr>Avenir Heavy</vt:lpstr>
      <vt:lpstr>Avenir Medium</vt:lpstr>
      <vt:lpstr>Calibri</vt:lpstr>
      <vt:lpstr>Office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enri Pinar</dc:creator>
  <cp:lastModifiedBy>Aschoff, JohannesMaximilian</cp:lastModifiedBy>
  <cp:revision>49</cp:revision>
  <dcterms:created xsi:type="dcterms:W3CDTF">2024-11-24T12:40:33Z</dcterms:created>
  <dcterms:modified xsi:type="dcterms:W3CDTF">2024-12-10T16:35:50Z</dcterms:modified>
</cp:coreProperties>
</file>